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7.xml" ContentType="application/vnd.openxmlformats-officedocument.presentationml.notesSlide+xml"/>
  <Override PartName="/ppt/tags/tag20.xml" ContentType="application/vnd.openxmlformats-officedocument.presentationml.tags+xml"/>
  <Override PartName="/ppt/notesSlides/notesSlide18.xml" ContentType="application/vnd.openxmlformats-officedocument.presentationml.notesSlide+xml"/>
  <Override PartName="/ppt/tags/tag21.xml" ContentType="application/vnd.openxmlformats-officedocument.presentationml.tags+xml"/>
  <Override PartName="/ppt/notesSlides/notesSlide19.xml" ContentType="application/vnd.openxmlformats-officedocument.presentationml.notesSlide+xml"/>
  <Override PartName="/ppt/tags/tag22.xml" ContentType="application/vnd.openxmlformats-officedocument.presentationml.tags+xml"/>
  <Override PartName="/ppt/notesSlides/notesSlide20.xml" ContentType="application/vnd.openxmlformats-officedocument.presentationml.notesSlide+xml"/>
  <Override PartName="/ppt/tags/tag23.xml" ContentType="application/vnd.openxmlformats-officedocument.presentationml.tags+xml"/>
  <Override PartName="/ppt/notesSlides/notesSlide21.xml" ContentType="application/vnd.openxmlformats-officedocument.presentationml.notesSlide+xml"/>
  <Override PartName="/ppt/tags/tag24.xml" ContentType="application/vnd.openxmlformats-officedocument.presentationml.tags+xml"/>
  <Override PartName="/ppt/notesSlides/notesSlide22.xml" ContentType="application/vnd.openxmlformats-officedocument.presentationml.notesSlide+xml"/>
  <Override PartName="/ppt/tags/tag25.xml" ContentType="application/vnd.openxmlformats-officedocument.presentationml.tags+xml"/>
  <Override PartName="/ppt/notesSlides/notesSlide23.xml" ContentType="application/vnd.openxmlformats-officedocument.presentationml.notesSlide+xml"/>
  <Override PartName="/ppt/tags/tag26.xml" ContentType="application/vnd.openxmlformats-officedocument.presentationml.tags+xml"/>
  <Override PartName="/ppt/notesSlides/notesSlide24.xml" ContentType="application/vnd.openxmlformats-officedocument.presentationml.notesSlide+xml"/>
  <Override PartName="/ppt/tags/tag27.xml" ContentType="application/vnd.openxmlformats-officedocument.presentationml.tags+xml"/>
  <Override PartName="/ppt/notesSlides/notesSlide25.xml" ContentType="application/vnd.openxmlformats-officedocument.presentationml.notesSlide+xml"/>
  <Override PartName="/ppt/tags/tag28.xml" ContentType="application/vnd.openxmlformats-officedocument.presentationml.tags+xml"/>
  <Override PartName="/ppt/notesSlides/notesSlide26.xml" ContentType="application/vnd.openxmlformats-officedocument.presentationml.notesSlide+xml"/>
  <Override PartName="/ppt/tags/tag29.xml" ContentType="application/vnd.openxmlformats-officedocument.presentationml.tags+xml"/>
  <Override PartName="/ppt/notesSlides/notesSlide2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28.xml" ContentType="application/vnd.openxmlformats-officedocument.presentationml.notesSlide+xml"/>
  <Override PartName="/ppt/tags/tag32.xml" ContentType="application/vnd.openxmlformats-officedocument.presentationml.tags+xml"/>
  <Override PartName="/ppt/notesSlides/notesSlide29.xml" ContentType="application/vnd.openxmlformats-officedocument.presentationml.notesSlide+xml"/>
  <Override PartName="/ppt/tags/tag33.xml" ContentType="application/vnd.openxmlformats-officedocument.presentationml.tags+xml"/>
  <Override PartName="/ppt/notesSlides/notesSlide30.xml" ContentType="application/vnd.openxmlformats-officedocument.presentationml.notesSlide+xml"/>
  <Override PartName="/ppt/tags/tag34.xml" ContentType="application/vnd.openxmlformats-officedocument.presentationml.tags+xml"/>
  <Override PartName="/ppt/notesSlides/notesSlide3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3"/>
  </p:notesMasterIdLst>
  <p:sldIdLst>
    <p:sldId id="331" r:id="rId2"/>
    <p:sldId id="308" r:id="rId3"/>
    <p:sldId id="344" r:id="rId4"/>
    <p:sldId id="347" r:id="rId5"/>
    <p:sldId id="348" r:id="rId6"/>
    <p:sldId id="359" r:id="rId7"/>
    <p:sldId id="326" r:id="rId8"/>
    <p:sldId id="349" r:id="rId9"/>
    <p:sldId id="350" r:id="rId10"/>
    <p:sldId id="351" r:id="rId11"/>
    <p:sldId id="352" r:id="rId12"/>
    <p:sldId id="353" r:id="rId13"/>
    <p:sldId id="354" r:id="rId14"/>
    <p:sldId id="355" r:id="rId15"/>
    <p:sldId id="356" r:id="rId16"/>
    <p:sldId id="366" r:id="rId17"/>
    <p:sldId id="357" r:id="rId18"/>
    <p:sldId id="364" r:id="rId19"/>
    <p:sldId id="345" r:id="rId20"/>
    <p:sldId id="341" r:id="rId21"/>
    <p:sldId id="342" r:id="rId22"/>
    <p:sldId id="365" r:id="rId23"/>
    <p:sldId id="337" r:id="rId24"/>
    <p:sldId id="361" r:id="rId25"/>
    <p:sldId id="362" r:id="rId26"/>
    <p:sldId id="363" r:id="rId27"/>
    <p:sldId id="335" r:id="rId28"/>
    <p:sldId id="330" r:id="rId29"/>
    <p:sldId id="312" r:id="rId30"/>
    <p:sldId id="358" r:id="rId31"/>
    <p:sldId id="367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942D110-875B-42FB-AC8A-CA70EB9445B0}" v="287" dt="2020-11-20T13:53:15.2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35" autoAdjust="0"/>
    <p:restoredTop sz="73561" autoAdjust="0"/>
  </p:normalViewPr>
  <p:slideViewPr>
    <p:cSldViewPr snapToGrid="0">
      <p:cViewPr varScale="1">
        <p:scale>
          <a:sx n="84" d="100"/>
          <a:sy n="84" d="100"/>
        </p:scale>
        <p:origin x="1578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microsoft.com/office/2015/10/relationships/revisionInfo" Target="revisionInfo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nry" userId="02f5dd7c-8d1c-42af-a438-3c1752a452dc" providerId="ADAL" clId="{5942D110-875B-42FB-AC8A-CA70EB9445B0}"/>
    <pc:docChg chg="undo redo custSel addSld delSld modSld sldOrd modMainMaster">
      <pc:chgData name="Henry" userId="02f5dd7c-8d1c-42af-a438-3c1752a452dc" providerId="ADAL" clId="{5942D110-875B-42FB-AC8A-CA70EB9445B0}" dt="2020-11-20T14:13:33.094" v="20300"/>
      <pc:docMkLst>
        <pc:docMk/>
      </pc:docMkLst>
      <pc:sldChg chg="modSp del mod">
        <pc:chgData name="Henry" userId="02f5dd7c-8d1c-42af-a438-3c1752a452dc" providerId="ADAL" clId="{5942D110-875B-42FB-AC8A-CA70EB9445B0}" dt="2020-11-16T12:27:17.562" v="3299" actId="47"/>
        <pc:sldMkLst>
          <pc:docMk/>
          <pc:sldMk cId="1096569442" sldId="270"/>
        </pc:sldMkLst>
        <pc:spChg chg="mod">
          <ac:chgData name="Henry" userId="02f5dd7c-8d1c-42af-a438-3c1752a452dc" providerId="ADAL" clId="{5942D110-875B-42FB-AC8A-CA70EB9445B0}" dt="2020-11-12T15:05:24.850" v="99" actId="20577"/>
          <ac:spMkLst>
            <pc:docMk/>
            <pc:sldMk cId="1096569442" sldId="270"/>
            <ac:spMk id="2" creationId="{3F62044A-0FD2-48A0-A969-AF8653966472}"/>
          </ac:spMkLst>
        </pc:spChg>
      </pc:sldChg>
      <pc:sldChg chg="del">
        <pc:chgData name="Henry" userId="02f5dd7c-8d1c-42af-a438-3c1752a452dc" providerId="ADAL" clId="{5942D110-875B-42FB-AC8A-CA70EB9445B0}" dt="2020-11-16T12:27:55.649" v="3308" actId="47"/>
        <pc:sldMkLst>
          <pc:docMk/>
          <pc:sldMk cId="2181494122" sldId="277"/>
        </pc:sldMkLst>
      </pc:sldChg>
      <pc:sldChg chg="del">
        <pc:chgData name="Henry" userId="02f5dd7c-8d1c-42af-a438-3c1752a452dc" providerId="ADAL" clId="{5942D110-875B-42FB-AC8A-CA70EB9445B0}" dt="2020-11-16T12:27:55.649" v="3308" actId="47"/>
        <pc:sldMkLst>
          <pc:docMk/>
          <pc:sldMk cId="827776185" sldId="278"/>
        </pc:sldMkLst>
      </pc:sldChg>
      <pc:sldChg chg="del">
        <pc:chgData name="Henry" userId="02f5dd7c-8d1c-42af-a438-3c1752a452dc" providerId="ADAL" clId="{5942D110-875B-42FB-AC8A-CA70EB9445B0}" dt="2020-11-16T12:27:55.649" v="3308" actId="47"/>
        <pc:sldMkLst>
          <pc:docMk/>
          <pc:sldMk cId="1077094193" sldId="303"/>
        </pc:sldMkLst>
      </pc:sldChg>
      <pc:sldChg chg="del">
        <pc:chgData name="Henry" userId="02f5dd7c-8d1c-42af-a438-3c1752a452dc" providerId="ADAL" clId="{5942D110-875B-42FB-AC8A-CA70EB9445B0}" dt="2020-11-16T12:27:55.649" v="3308" actId="47"/>
        <pc:sldMkLst>
          <pc:docMk/>
          <pc:sldMk cId="1943062014" sldId="304"/>
        </pc:sldMkLst>
      </pc:sldChg>
      <pc:sldChg chg="del">
        <pc:chgData name="Henry" userId="02f5dd7c-8d1c-42af-a438-3c1752a452dc" providerId="ADAL" clId="{5942D110-875B-42FB-AC8A-CA70EB9445B0}" dt="2020-11-16T12:27:31.416" v="3301" actId="47"/>
        <pc:sldMkLst>
          <pc:docMk/>
          <pc:sldMk cId="3142185975" sldId="307"/>
        </pc:sldMkLst>
      </pc:sldChg>
      <pc:sldChg chg="addSp modSp mod modNotesTx">
        <pc:chgData name="Henry" userId="02f5dd7c-8d1c-42af-a438-3c1752a452dc" providerId="ADAL" clId="{5942D110-875B-42FB-AC8A-CA70EB9445B0}" dt="2020-11-19T13:38:22.777" v="6245" actId="2710"/>
        <pc:sldMkLst>
          <pc:docMk/>
          <pc:sldMk cId="6125309" sldId="308"/>
        </pc:sldMkLst>
        <pc:spChg chg="add mod">
          <ac:chgData name="Henry" userId="02f5dd7c-8d1c-42af-a438-3c1752a452dc" providerId="ADAL" clId="{5942D110-875B-42FB-AC8A-CA70EB9445B0}" dt="2020-11-18T12:42:03.897" v="3698" actId="14100"/>
          <ac:spMkLst>
            <pc:docMk/>
            <pc:sldMk cId="6125309" sldId="308"/>
            <ac:spMk id="4" creationId="{2093F4C1-40CB-4350-8B46-B25B2F95FB9C}"/>
          </ac:spMkLst>
        </pc:spChg>
        <pc:spChg chg="add mod">
          <ac:chgData name="Henry" userId="02f5dd7c-8d1c-42af-a438-3c1752a452dc" providerId="ADAL" clId="{5942D110-875B-42FB-AC8A-CA70EB9445B0}" dt="2020-11-18T12:42:29.036" v="3714" actId="1038"/>
          <ac:spMkLst>
            <pc:docMk/>
            <pc:sldMk cId="6125309" sldId="308"/>
            <ac:spMk id="5" creationId="{2A23E363-5962-4B96-AE06-856974562F4E}"/>
          </ac:spMkLst>
        </pc:spChg>
        <pc:spChg chg="mod">
          <ac:chgData name="Henry" userId="02f5dd7c-8d1c-42af-a438-3c1752a452dc" providerId="ADAL" clId="{5942D110-875B-42FB-AC8A-CA70EB9445B0}" dt="2020-11-19T13:38:22.777" v="6245" actId="2710"/>
          <ac:spMkLst>
            <pc:docMk/>
            <pc:sldMk cId="6125309" sldId="308"/>
            <ac:spMk id="8" creationId="{DA7063B2-C174-3849-91BE-D4DEF71EBC2C}"/>
          </ac:spMkLst>
        </pc:spChg>
        <pc:spChg chg="mod">
          <ac:chgData name="Henry" userId="02f5dd7c-8d1c-42af-a438-3c1752a452dc" providerId="ADAL" clId="{5942D110-875B-42FB-AC8A-CA70EB9445B0}" dt="2020-11-18T16:17:21.957" v="4416" actId="20577"/>
          <ac:spMkLst>
            <pc:docMk/>
            <pc:sldMk cId="6125309" sldId="308"/>
            <ac:spMk id="9" creationId="{05402393-FFAD-4674-B173-20ACF59F4BDF}"/>
          </ac:spMkLst>
        </pc:spChg>
      </pc:sldChg>
      <pc:sldChg chg="del">
        <pc:chgData name="Henry" userId="02f5dd7c-8d1c-42af-a438-3c1752a452dc" providerId="ADAL" clId="{5942D110-875B-42FB-AC8A-CA70EB9445B0}" dt="2020-11-12T15:02:06.357" v="69" actId="47"/>
        <pc:sldMkLst>
          <pc:docMk/>
          <pc:sldMk cId="2175452777" sldId="309"/>
        </pc:sldMkLst>
      </pc:sldChg>
      <pc:sldChg chg="del">
        <pc:chgData name="Henry" userId="02f5dd7c-8d1c-42af-a438-3c1752a452dc" providerId="ADAL" clId="{5942D110-875B-42FB-AC8A-CA70EB9445B0}" dt="2020-11-16T12:27:22.708" v="3300" actId="47"/>
        <pc:sldMkLst>
          <pc:docMk/>
          <pc:sldMk cId="3602990625" sldId="310"/>
        </pc:sldMkLst>
      </pc:sldChg>
      <pc:sldChg chg="ord">
        <pc:chgData name="Henry" userId="02f5dd7c-8d1c-42af-a438-3c1752a452dc" providerId="ADAL" clId="{5942D110-875B-42FB-AC8A-CA70EB9445B0}" dt="2020-11-18T16:12:08.301" v="4396"/>
        <pc:sldMkLst>
          <pc:docMk/>
          <pc:sldMk cId="2390707901" sldId="312"/>
        </pc:sldMkLst>
      </pc:sldChg>
      <pc:sldChg chg="del">
        <pc:chgData name="Henry" userId="02f5dd7c-8d1c-42af-a438-3c1752a452dc" providerId="ADAL" clId="{5942D110-875B-42FB-AC8A-CA70EB9445B0}" dt="2020-11-16T12:28:20.799" v="3311" actId="47"/>
        <pc:sldMkLst>
          <pc:docMk/>
          <pc:sldMk cId="3608431698" sldId="313"/>
        </pc:sldMkLst>
      </pc:sldChg>
      <pc:sldChg chg="del">
        <pc:chgData name="Henry" userId="02f5dd7c-8d1c-42af-a438-3c1752a452dc" providerId="ADAL" clId="{5942D110-875B-42FB-AC8A-CA70EB9445B0}" dt="2020-11-13T10:20:51.096" v="135" actId="47"/>
        <pc:sldMkLst>
          <pc:docMk/>
          <pc:sldMk cId="4220464414" sldId="314"/>
        </pc:sldMkLst>
      </pc:sldChg>
      <pc:sldChg chg="del">
        <pc:chgData name="Henry" userId="02f5dd7c-8d1c-42af-a438-3c1752a452dc" providerId="ADAL" clId="{5942D110-875B-42FB-AC8A-CA70EB9445B0}" dt="2020-11-13T10:20:59.285" v="136" actId="47"/>
        <pc:sldMkLst>
          <pc:docMk/>
          <pc:sldMk cId="2282643446" sldId="315"/>
        </pc:sldMkLst>
      </pc:sldChg>
      <pc:sldChg chg="del">
        <pc:chgData name="Henry" userId="02f5dd7c-8d1c-42af-a438-3c1752a452dc" providerId="ADAL" clId="{5942D110-875B-42FB-AC8A-CA70EB9445B0}" dt="2020-11-16T12:28:20.799" v="3311" actId="47"/>
        <pc:sldMkLst>
          <pc:docMk/>
          <pc:sldMk cId="3053953911" sldId="317"/>
        </pc:sldMkLst>
      </pc:sldChg>
      <pc:sldChg chg="del">
        <pc:chgData name="Henry" userId="02f5dd7c-8d1c-42af-a438-3c1752a452dc" providerId="ADAL" clId="{5942D110-875B-42FB-AC8A-CA70EB9445B0}" dt="2020-11-16T12:28:15.573" v="3310" actId="47"/>
        <pc:sldMkLst>
          <pc:docMk/>
          <pc:sldMk cId="2748158024" sldId="318"/>
        </pc:sldMkLst>
      </pc:sldChg>
      <pc:sldChg chg="del">
        <pc:chgData name="Henry" userId="02f5dd7c-8d1c-42af-a438-3c1752a452dc" providerId="ADAL" clId="{5942D110-875B-42FB-AC8A-CA70EB9445B0}" dt="2020-11-16T12:28:15.573" v="3310" actId="47"/>
        <pc:sldMkLst>
          <pc:docMk/>
          <pc:sldMk cId="2520858722" sldId="319"/>
        </pc:sldMkLst>
      </pc:sldChg>
      <pc:sldChg chg="del">
        <pc:chgData name="Henry" userId="02f5dd7c-8d1c-42af-a438-3c1752a452dc" providerId="ADAL" clId="{5942D110-875B-42FB-AC8A-CA70EB9445B0}" dt="2020-11-13T10:21:11.963" v="137" actId="47"/>
        <pc:sldMkLst>
          <pc:docMk/>
          <pc:sldMk cId="2832914800" sldId="320"/>
        </pc:sldMkLst>
      </pc:sldChg>
      <pc:sldChg chg="del">
        <pc:chgData name="Henry" userId="02f5dd7c-8d1c-42af-a438-3c1752a452dc" providerId="ADAL" clId="{5942D110-875B-42FB-AC8A-CA70EB9445B0}" dt="2020-11-16T12:28:20.799" v="3311" actId="47"/>
        <pc:sldMkLst>
          <pc:docMk/>
          <pc:sldMk cId="1214666881" sldId="321"/>
        </pc:sldMkLst>
      </pc:sldChg>
      <pc:sldChg chg="del">
        <pc:chgData name="Henry" userId="02f5dd7c-8d1c-42af-a438-3c1752a452dc" providerId="ADAL" clId="{5942D110-875B-42FB-AC8A-CA70EB9445B0}" dt="2020-11-16T12:28:15.573" v="3310" actId="47"/>
        <pc:sldMkLst>
          <pc:docMk/>
          <pc:sldMk cId="4199162026" sldId="322"/>
        </pc:sldMkLst>
      </pc:sldChg>
      <pc:sldChg chg="del">
        <pc:chgData name="Henry" userId="02f5dd7c-8d1c-42af-a438-3c1752a452dc" providerId="ADAL" clId="{5942D110-875B-42FB-AC8A-CA70EB9445B0}" dt="2020-11-13T10:21:11.963" v="137" actId="47"/>
        <pc:sldMkLst>
          <pc:docMk/>
          <pc:sldMk cId="4029793554" sldId="323"/>
        </pc:sldMkLst>
      </pc:sldChg>
      <pc:sldChg chg="del">
        <pc:chgData name="Henry" userId="02f5dd7c-8d1c-42af-a438-3c1752a452dc" providerId="ADAL" clId="{5942D110-875B-42FB-AC8A-CA70EB9445B0}" dt="2020-11-16T12:28:15.573" v="3310" actId="47"/>
        <pc:sldMkLst>
          <pc:docMk/>
          <pc:sldMk cId="2135601177" sldId="324"/>
        </pc:sldMkLst>
      </pc:sldChg>
      <pc:sldChg chg="addSp delSp modSp mod ord modNotesTx">
        <pc:chgData name="Henry" userId="02f5dd7c-8d1c-42af-a438-3c1752a452dc" providerId="ADAL" clId="{5942D110-875B-42FB-AC8A-CA70EB9445B0}" dt="2020-11-20T14:02:38.486" v="20247" actId="20577"/>
        <pc:sldMkLst>
          <pc:docMk/>
          <pc:sldMk cId="696682100" sldId="326"/>
        </pc:sldMkLst>
        <pc:spChg chg="mod">
          <ac:chgData name="Henry" userId="02f5dd7c-8d1c-42af-a438-3c1752a452dc" providerId="ADAL" clId="{5942D110-875B-42FB-AC8A-CA70EB9445B0}" dt="2020-11-13T12:56:13.087" v="977" actId="20577"/>
          <ac:spMkLst>
            <pc:docMk/>
            <pc:sldMk cId="696682100" sldId="326"/>
            <ac:spMk id="2" creationId="{3F62044A-0FD2-48A0-A969-AF8653966472}"/>
          </ac:spMkLst>
        </pc:spChg>
        <pc:spChg chg="add mod">
          <ac:chgData name="Henry" userId="02f5dd7c-8d1c-42af-a438-3c1752a452dc" providerId="ADAL" clId="{5942D110-875B-42FB-AC8A-CA70EB9445B0}" dt="2020-11-18T16:10:12.288" v="4383" actId="1076"/>
          <ac:spMkLst>
            <pc:docMk/>
            <pc:sldMk cId="696682100" sldId="326"/>
            <ac:spMk id="3" creationId="{E965419C-49CD-4278-B9D1-DCCF209633FB}"/>
          </ac:spMkLst>
        </pc:spChg>
        <pc:spChg chg="add mod">
          <ac:chgData name="Henry" userId="02f5dd7c-8d1c-42af-a438-3c1752a452dc" providerId="ADAL" clId="{5942D110-875B-42FB-AC8A-CA70EB9445B0}" dt="2020-11-19T15:58:34.736" v="10749" actId="20577"/>
          <ac:spMkLst>
            <pc:docMk/>
            <pc:sldMk cId="696682100" sldId="326"/>
            <ac:spMk id="4" creationId="{B2F77D58-0761-47D0-8719-7140C73A07C8}"/>
          </ac:spMkLst>
        </pc:spChg>
        <pc:spChg chg="add mod">
          <ac:chgData name="Henry" userId="02f5dd7c-8d1c-42af-a438-3c1752a452dc" providerId="ADAL" clId="{5942D110-875B-42FB-AC8A-CA70EB9445B0}" dt="2020-11-18T16:09:52.674" v="4381" actId="1076"/>
          <ac:spMkLst>
            <pc:docMk/>
            <pc:sldMk cId="696682100" sldId="326"/>
            <ac:spMk id="5" creationId="{01EDA652-9526-483C-BA13-74A538F98FF6}"/>
          </ac:spMkLst>
        </pc:spChg>
        <pc:spChg chg="del">
          <ac:chgData name="Henry" userId="02f5dd7c-8d1c-42af-a438-3c1752a452dc" providerId="ADAL" clId="{5942D110-875B-42FB-AC8A-CA70EB9445B0}" dt="2020-11-13T12:57:29.733" v="978" actId="478"/>
          <ac:spMkLst>
            <pc:docMk/>
            <pc:sldMk cId="696682100" sldId="326"/>
            <ac:spMk id="5" creationId="{F5E7AF60-05A5-E846-8FE2-463486EF3220}"/>
          </ac:spMkLst>
        </pc:spChg>
        <pc:spChg chg="mod">
          <ac:chgData name="Henry" userId="02f5dd7c-8d1c-42af-a438-3c1752a452dc" providerId="ADAL" clId="{5942D110-875B-42FB-AC8A-CA70EB9445B0}" dt="2020-11-18T16:10:25.149" v="4385" actId="20577"/>
          <ac:spMkLst>
            <pc:docMk/>
            <pc:sldMk cId="696682100" sldId="326"/>
            <ac:spMk id="34" creationId="{59E6DB54-C793-9746-A885-7B595EC8FFF7}"/>
          </ac:spMkLst>
        </pc:spChg>
        <pc:grpChg chg="del">
          <ac:chgData name="Henry" userId="02f5dd7c-8d1c-42af-a438-3c1752a452dc" providerId="ADAL" clId="{5942D110-875B-42FB-AC8A-CA70EB9445B0}" dt="2020-11-13T12:57:44.475" v="980" actId="478"/>
          <ac:grpSpMkLst>
            <pc:docMk/>
            <pc:sldMk cId="696682100" sldId="326"/>
            <ac:grpSpMk id="27" creationId="{95669FC5-F562-134D-A750-1543BBC4B9D0}"/>
          </ac:grpSpMkLst>
        </pc:grpChg>
      </pc:sldChg>
      <pc:sldChg chg="del ord">
        <pc:chgData name="Henry" userId="02f5dd7c-8d1c-42af-a438-3c1752a452dc" providerId="ADAL" clId="{5942D110-875B-42FB-AC8A-CA70EB9445B0}" dt="2020-11-16T12:27:17.562" v="3299" actId="47"/>
        <pc:sldMkLst>
          <pc:docMk/>
          <pc:sldMk cId="1617692469" sldId="327"/>
        </pc:sldMkLst>
      </pc:sldChg>
      <pc:sldChg chg="del ord">
        <pc:chgData name="Henry" userId="02f5dd7c-8d1c-42af-a438-3c1752a452dc" providerId="ADAL" clId="{5942D110-875B-42FB-AC8A-CA70EB9445B0}" dt="2020-11-16T12:27:17.562" v="3299" actId="47"/>
        <pc:sldMkLst>
          <pc:docMk/>
          <pc:sldMk cId="1562694457" sldId="328"/>
        </pc:sldMkLst>
      </pc:sldChg>
      <pc:sldChg chg="del">
        <pc:chgData name="Henry" userId="02f5dd7c-8d1c-42af-a438-3c1752a452dc" providerId="ADAL" clId="{5942D110-875B-42FB-AC8A-CA70EB9445B0}" dt="2020-11-16T12:27:55.649" v="3308" actId="47"/>
        <pc:sldMkLst>
          <pc:docMk/>
          <pc:sldMk cId="1272937145" sldId="329"/>
        </pc:sldMkLst>
      </pc:sldChg>
      <pc:sldChg chg="addSp modSp mod modNotesTx">
        <pc:chgData name="Henry" userId="02f5dd7c-8d1c-42af-a438-3c1752a452dc" providerId="ADAL" clId="{5942D110-875B-42FB-AC8A-CA70EB9445B0}" dt="2020-11-20T13:56:23.644" v="20225" actId="20577"/>
        <pc:sldMkLst>
          <pc:docMk/>
          <pc:sldMk cId="3912278977" sldId="331"/>
        </pc:sldMkLst>
        <pc:spChg chg="mod">
          <ac:chgData name="Henry" userId="02f5dd7c-8d1c-42af-a438-3c1752a452dc" providerId="ADAL" clId="{5942D110-875B-42FB-AC8A-CA70EB9445B0}" dt="2020-11-12T14:33:04.510" v="40"/>
          <ac:spMkLst>
            <pc:docMk/>
            <pc:sldMk cId="3912278977" sldId="331"/>
            <ac:spMk id="2" creationId="{00000000-0000-0000-0000-000000000000}"/>
          </ac:spMkLst>
        </pc:spChg>
        <pc:spChg chg="mod">
          <ac:chgData name="Henry" userId="02f5dd7c-8d1c-42af-a438-3c1752a452dc" providerId="ADAL" clId="{5942D110-875B-42FB-AC8A-CA70EB9445B0}" dt="2020-11-12T14:32:20.805" v="35" actId="14100"/>
          <ac:spMkLst>
            <pc:docMk/>
            <pc:sldMk cId="3912278977" sldId="331"/>
            <ac:spMk id="3" creationId="{00000000-0000-0000-0000-000000000000}"/>
          </ac:spMkLst>
        </pc:spChg>
        <pc:picChg chg="add mod">
          <ac:chgData name="Henry" userId="02f5dd7c-8d1c-42af-a438-3c1752a452dc" providerId="ADAL" clId="{5942D110-875B-42FB-AC8A-CA70EB9445B0}" dt="2020-11-12T14:34:12.920" v="45" actId="1076"/>
          <ac:picMkLst>
            <pc:docMk/>
            <pc:sldMk cId="3912278977" sldId="331"/>
            <ac:picMk id="5" creationId="{2F2A005C-CD69-4885-809C-0E9B2FB3952F}"/>
          </ac:picMkLst>
        </pc:picChg>
      </pc:sldChg>
      <pc:sldChg chg="del">
        <pc:chgData name="Henry" userId="02f5dd7c-8d1c-42af-a438-3c1752a452dc" providerId="ADAL" clId="{5942D110-875B-42FB-AC8A-CA70EB9445B0}" dt="2020-11-16T12:28:30.001" v="3312" actId="47"/>
        <pc:sldMkLst>
          <pc:docMk/>
          <pc:sldMk cId="500465824" sldId="332"/>
        </pc:sldMkLst>
      </pc:sldChg>
      <pc:sldChg chg="del">
        <pc:chgData name="Henry" userId="02f5dd7c-8d1c-42af-a438-3c1752a452dc" providerId="ADAL" clId="{5942D110-875B-42FB-AC8A-CA70EB9445B0}" dt="2020-11-12T15:02:09.031" v="70" actId="47"/>
        <pc:sldMkLst>
          <pc:docMk/>
          <pc:sldMk cId="1967055" sldId="333"/>
        </pc:sldMkLst>
      </pc:sldChg>
      <pc:sldChg chg="modSp mod ord modNotesTx">
        <pc:chgData name="Henry" userId="02f5dd7c-8d1c-42af-a438-3c1752a452dc" providerId="ADAL" clId="{5942D110-875B-42FB-AC8A-CA70EB9445B0}" dt="2020-11-20T14:13:33.094" v="20300"/>
        <pc:sldMkLst>
          <pc:docMk/>
          <pc:sldMk cId="928394805" sldId="337"/>
        </pc:sldMkLst>
        <pc:spChg chg="mod">
          <ac:chgData name="Henry" userId="02f5dd7c-8d1c-42af-a438-3c1752a452dc" providerId="ADAL" clId="{5942D110-875B-42FB-AC8A-CA70EB9445B0}" dt="2020-11-18T16:04:00.692" v="4361" actId="14100"/>
          <ac:spMkLst>
            <pc:docMk/>
            <pc:sldMk cId="928394805" sldId="337"/>
            <ac:spMk id="12" creationId="{12F6ED3D-7197-644F-8AA9-97A923EFD83E}"/>
          </ac:spMkLst>
        </pc:spChg>
        <pc:spChg chg="mod">
          <ac:chgData name="Henry" userId="02f5dd7c-8d1c-42af-a438-3c1752a452dc" providerId="ADAL" clId="{5942D110-875B-42FB-AC8A-CA70EB9445B0}" dt="2020-11-19T13:44:00.145" v="6253" actId="20577"/>
          <ac:spMkLst>
            <pc:docMk/>
            <pc:sldMk cId="928394805" sldId="337"/>
            <ac:spMk id="13" creationId="{CBD02C1E-CFD4-BB48-92AC-8D3265143495}"/>
          </ac:spMkLst>
        </pc:spChg>
      </pc:sldChg>
      <pc:sldChg chg="del">
        <pc:chgData name="Henry" userId="02f5dd7c-8d1c-42af-a438-3c1752a452dc" providerId="ADAL" clId="{5942D110-875B-42FB-AC8A-CA70EB9445B0}" dt="2020-11-18T16:49:16.018" v="4418" actId="47"/>
        <pc:sldMkLst>
          <pc:docMk/>
          <pc:sldMk cId="3298455076" sldId="338"/>
        </pc:sldMkLst>
      </pc:sldChg>
      <pc:sldChg chg="del">
        <pc:chgData name="Henry" userId="02f5dd7c-8d1c-42af-a438-3c1752a452dc" providerId="ADAL" clId="{5942D110-875B-42FB-AC8A-CA70EB9445B0}" dt="2020-11-16T12:28:20.799" v="3311" actId="47"/>
        <pc:sldMkLst>
          <pc:docMk/>
          <pc:sldMk cId="2161353364" sldId="339"/>
        </pc:sldMkLst>
      </pc:sldChg>
      <pc:sldChg chg="del">
        <pc:chgData name="Henry" userId="02f5dd7c-8d1c-42af-a438-3c1752a452dc" providerId="ADAL" clId="{5942D110-875B-42FB-AC8A-CA70EB9445B0}" dt="2020-11-16T12:28:20.799" v="3311" actId="47"/>
        <pc:sldMkLst>
          <pc:docMk/>
          <pc:sldMk cId="2067412869" sldId="340"/>
        </pc:sldMkLst>
      </pc:sldChg>
      <pc:sldChg chg="del">
        <pc:chgData name="Henry" userId="02f5dd7c-8d1c-42af-a438-3c1752a452dc" providerId="ADAL" clId="{5942D110-875B-42FB-AC8A-CA70EB9445B0}" dt="2020-11-16T12:27:17.562" v="3299" actId="47"/>
        <pc:sldMkLst>
          <pc:docMk/>
          <pc:sldMk cId="4201699187" sldId="343"/>
        </pc:sldMkLst>
      </pc:sldChg>
      <pc:sldChg chg="addSp delSp modSp add mod modNotesTx">
        <pc:chgData name="Henry" userId="02f5dd7c-8d1c-42af-a438-3c1752a452dc" providerId="ADAL" clId="{5942D110-875B-42FB-AC8A-CA70EB9445B0}" dt="2020-11-20T13:58:08.061" v="20232" actId="20577"/>
        <pc:sldMkLst>
          <pc:docMk/>
          <pc:sldMk cId="2790452297" sldId="344"/>
        </pc:sldMkLst>
        <pc:spChg chg="mod">
          <ac:chgData name="Henry" userId="02f5dd7c-8d1c-42af-a438-3c1752a452dc" providerId="ADAL" clId="{5942D110-875B-42FB-AC8A-CA70EB9445B0}" dt="2020-11-13T10:38:49.752" v="163" actId="20577"/>
          <ac:spMkLst>
            <pc:docMk/>
            <pc:sldMk cId="2790452297" sldId="344"/>
            <ac:spMk id="2" creationId="{3F62044A-0FD2-48A0-A969-AF8653966472}"/>
          </ac:spMkLst>
        </pc:spChg>
        <pc:spChg chg="del">
          <ac:chgData name="Henry" userId="02f5dd7c-8d1c-42af-a438-3c1752a452dc" providerId="ADAL" clId="{5942D110-875B-42FB-AC8A-CA70EB9445B0}" dt="2020-11-12T14:53:58.362" v="63" actId="478"/>
          <ac:spMkLst>
            <pc:docMk/>
            <pc:sldMk cId="2790452297" sldId="344"/>
            <ac:spMk id="4" creationId="{E0B3AF7C-FA7A-E24B-99E6-55EE71748AEF}"/>
          </ac:spMkLst>
        </pc:spChg>
        <pc:spChg chg="mod">
          <ac:chgData name="Henry" userId="02f5dd7c-8d1c-42af-a438-3c1752a452dc" providerId="ADAL" clId="{5942D110-875B-42FB-AC8A-CA70EB9445B0}" dt="2020-11-13T11:03:39.316" v="372" actId="20577"/>
          <ac:spMkLst>
            <pc:docMk/>
            <pc:sldMk cId="2790452297" sldId="344"/>
            <ac:spMk id="9" creationId="{05402393-FFAD-4674-B173-20ACF59F4BDF}"/>
          </ac:spMkLst>
        </pc:spChg>
        <pc:spChg chg="mod">
          <ac:chgData name="Henry" userId="02f5dd7c-8d1c-42af-a438-3c1752a452dc" providerId="ADAL" clId="{5942D110-875B-42FB-AC8A-CA70EB9445B0}" dt="2020-11-18T14:53:21.134" v="3863" actId="20577"/>
          <ac:spMkLst>
            <pc:docMk/>
            <pc:sldMk cId="2790452297" sldId="344"/>
            <ac:spMk id="10" creationId="{7F1661AC-E5DD-1740-B58A-E9F01EEDEF60}"/>
          </ac:spMkLst>
        </pc:spChg>
        <pc:spChg chg="del">
          <ac:chgData name="Henry" userId="02f5dd7c-8d1c-42af-a438-3c1752a452dc" providerId="ADAL" clId="{5942D110-875B-42FB-AC8A-CA70EB9445B0}" dt="2020-11-12T14:54:00.291" v="64" actId="478"/>
          <ac:spMkLst>
            <pc:docMk/>
            <pc:sldMk cId="2790452297" sldId="344"/>
            <ac:spMk id="14" creationId="{FEEEEF28-708D-3843-9348-43DCA6E7B007}"/>
          </ac:spMkLst>
        </pc:spChg>
        <pc:spChg chg="mod">
          <ac:chgData name="Henry" userId="02f5dd7c-8d1c-42af-a438-3c1752a452dc" providerId="ADAL" clId="{5942D110-875B-42FB-AC8A-CA70EB9445B0}" dt="2020-11-18T17:40:39.842" v="4882" actId="20577"/>
          <ac:spMkLst>
            <pc:docMk/>
            <pc:sldMk cId="2790452297" sldId="344"/>
            <ac:spMk id="15" creationId="{AC1E3A02-AF99-3E47-A940-46866CE179AA}"/>
          </ac:spMkLst>
        </pc:spChg>
        <pc:spChg chg="add del mod">
          <ac:chgData name="Henry" userId="02f5dd7c-8d1c-42af-a438-3c1752a452dc" providerId="ADAL" clId="{5942D110-875B-42FB-AC8A-CA70EB9445B0}" dt="2020-11-13T11:19:01.542" v="389" actId="21"/>
          <ac:spMkLst>
            <pc:docMk/>
            <pc:sldMk cId="2790452297" sldId="344"/>
            <ac:spMk id="17" creationId="{E99C8453-FACB-4BAC-A6CD-F3CDC01058D9}"/>
          </ac:spMkLst>
        </pc:spChg>
        <pc:spChg chg="add del mod">
          <ac:chgData name="Henry" userId="02f5dd7c-8d1c-42af-a438-3c1752a452dc" providerId="ADAL" clId="{5942D110-875B-42FB-AC8A-CA70EB9445B0}" dt="2020-11-13T11:19:01.542" v="389" actId="21"/>
          <ac:spMkLst>
            <pc:docMk/>
            <pc:sldMk cId="2790452297" sldId="344"/>
            <ac:spMk id="18" creationId="{E73C896A-F75E-4D7C-814A-387028C7734A}"/>
          </ac:spMkLst>
        </pc:spChg>
        <pc:spChg chg="add del mod">
          <ac:chgData name="Henry" userId="02f5dd7c-8d1c-42af-a438-3c1752a452dc" providerId="ADAL" clId="{5942D110-875B-42FB-AC8A-CA70EB9445B0}" dt="2020-11-13T11:19:01.542" v="389" actId="21"/>
          <ac:spMkLst>
            <pc:docMk/>
            <pc:sldMk cId="2790452297" sldId="344"/>
            <ac:spMk id="19" creationId="{5A0F6AE7-80C2-44A5-9B6F-2B12308C3E8F}"/>
          </ac:spMkLst>
        </pc:spChg>
        <pc:spChg chg="add del mod">
          <ac:chgData name="Henry" userId="02f5dd7c-8d1c-42af-a438-3c1752a452dc" providerId="ADAL" clId="{5942D110-875B-42FB-AC8A-CA70EB9445B0}" dt="2020-11-13T11:19:01.542" v="389" actId="21"/>
          <ac:spMkLst>
            <pc:docMk/>
            <pc:sldMk cId="2790452297" sldId="344"/>
            <ac:spMk id="22" creationId="{C8C8DF84-27EC-4605-BA0D-99EC398BF820}"/>
          </ac:spMkLst>
        </pc:spChg>
        <pc:spChg chg="add del mod">
          <ac:chgData name="Henry" userId="02f5dd7c-8d1c-42af-a438-3c1752a452dc" providerId="ADAL" clId="{5942D110-875B-42FB-AC8A-CA70EB9445B0}" dt="2020-11-13T11:19:01.542" v="389" actId="21"/>
          <ac:spMkLst>
            <pc:docMk/>
            <pc:sldMk cId="2790452297" sldId="344"/>
            <ac:spMk id="23" creationId="{A485463A-691E-4DD5-9889-1A955E906F2B}"/>
          </ac:spMkLst>
        </pc:spChg>
        <pc:spChg chg="add del mod">
          <ac:chgData name="Henry" userId="02f5dd7c-8d1c-42af-a438-3c1752a452dc" providerId="ADAL" clId="{5942D110-875B-42FB-AC8A-CA70EB9445B0}" dt="2020-11-13T11:19:01.542" v="389" actId="21"/>
          <ac:spMkLst>
            <pc:docMk/>
            <pc:sldMk cId="2790452297" sldId="344"/>
            <ac:spMk id="24" creationId="{0B80D00F-3F45-411B-B389-FE7D71FBD2CE}"/>
          </ac:spMkLst>
        </pc:spChg>
        <pc:spChg chg="add del mod">
          <ac:chgData name="Henry" userId="02f5dd7c-8d1c-42af-a438-3c1752a452dc" providerId="ADAL" clId="{5942D110-875B-42FB-AC8A-CA70EB9445B0}" dt="2020-11-13T11:19:01.542" v="389" actId="21"/>
          <ac:spMkLst>
            <pc:docMk/>
            <pc:sldMk cId="2790452297" sldId="344"/>
            <ac:spMk id="26" creationId="{1EB32C5D-8C53-48EC-AA83-A479A5FB3F56}"/>
          </ac:spMkLst>
        </pc:spChg>
        <pc:spChg chg="add del mod">
          <ac:chgData name="Henry" userId="02f5dd7c-8d1c-42af-a438-3c1752a452dc" providerId="ADAL" clId="{5942D110-875B-42FB-AC8A-CA70EB9445B0}" dt="2020-11-13T11:19:01.542" v="389" actId="21"/>
          <ac:spMkLst>
            <pc:docMk/>
            <pc:sldMk cId="2790452297" sldId="344"/>
            <ac:spMk id="27" creationId="{F292E8FD-5CF5-4E71-9E18-44BB8A83509E}"/>
          </ac:spMkLst>
        </pc:spChg>
        <pc:spChg chg="add del mod">
          <ac:chgData name="Henry" userId="02f5dd7c-8d1c-42af-a438-3c1752a452dc" providerId="ADAL" clId="{5942D110-875B-42FB-AC8A-CA70EB9445B0}" dt="2020-11-13T11:19:01.542" v="389" actId="21"/>
          <ac:spMkLst>
            <pc:docMk/>
            <pc:sldMk cId="2790452297" sldId="344"/>
            <ac:spMk id="28" creationId="{0688BE73-9E76-4C5B-A637-3D2274840D0B}"/>
          </ac:spMkLst>
        </pc:spChg>
        <pc:spChg chg="add del mod">
          <ac:chgData name="Henry" userId="02f5dd7c-8d1c-42af-a438-3c1752a452dc" providerId="ADAL" clId="{5942D110-875B-42FB-AC8A-CA70EB9445B0}" dt="2020-11-13T11:19:01.542" v="389" actId="21"/>
          <ac:spMkLst>
            <pc:docMk/>
            <pc:sldMk cId="2790452297" sldId="344"/>
            <ac:spMk id="30" creationId="{ED0C35E5-6C89-4B3E-8FAD-2B86C47EA91C}"/>
          </ac:spMkLst>
        </pc:spChg>
        <pc:spChg chg="add del mod">
          <ac:chgData name="Henry" userId="02f5dd7c-8d1c-42af-a438-3c1752a452dc" providerId="ADAL" clId="{5942D110-875B-42FB-AC8A-CA70EB9445B0}" dt="2020-11-13T11:19:01.542" v="389" actId="21"/>
          <ac:spMkLst>
            <pc:docMk/>
            <pc:sldMk cId="2790452297" sldId="344"/>
            <ac:spMk id="31" creationId="{103B0B97-F661-4A5F-8F89-485B421FD635}"/>
          </ac:spMkLst>
        </pc:spChg>
        <pc:spChg chg="add del mod">
          <ac:chgData name="Henry" userId="02f5dd7c-8d1c-42af-a438-3c1752a452dc" providerId="ADAL" clId="{5942D110-875B-42FB-AC8A-CA70EB9445B0}" dt="2020-11-13T11:19:01.542" v="389" actId="21"/>
          <ac:spMkLst>
            <pc:docMk/>
            <pc:sldMk cId="2790452297" sldId="344"/>
            <ac:spMk id="32" creationId="{7858F3E6-6C37-4B55-9CE5-32160461ADD4}"/>
          </ac:spMkLst>
        </pc:spChg>
        <pc:spChg chg="add del mod">
          <ac:chgData name="Henry" userId="02f5dd7c-8d1c-42af-a438-3c1752a452dc" providerId="ADAL" clId="{5942D110-875B-42FB-AC8A-CA70EB9445B0}" dt="2020-11-13T11:19:01.542" v="389" actId="21"/>
          <ac:spMkLst>
            <pc:docMk/>
            <pc:sldMk cId="2790452297" sldId="344"/>
            <ac:spMk id="42" creationId="{9CFC083D-4D4A-4A53-A6E8-5354444A1740}"/>
          </ac:spMkLst>
        </pc:spChg>
        <pc:grpChg chg="add del mod">
          <ac:chgData name="Henry" userId="02f5dd7c-8d1c-42af-a438-3c1752a452dc" providerId="ADAL" clId="{5942D110-875B-42FB-AC8A-CA70EB9445B0}" dt="2020-11-13T11:19:01.542" v="389" actId="21"/>
          <ac:grpSpMkLst>
            <pc:docMk/>
            <pc:sldMk cId="2790452297" sldId="344"/>
            <ac:grpSpMk id="33" creationId="{3525ED40-51B9-4F4D-95AC-92ACE25C61C1}"/>
          </ac:grpSpMkLst>
        </pc:grpChg>
        <pc:grpChg chg="add del mod">
          <ac:chgData name="Henry" userId="02f5dd7c-8d1c-42af-a438-3c1752a452dc" providerId="ADAL" clId="{5942D110-875B-42FB-AC8A-CA70EB9445B0}" dt="2020-11-13T11:19:01.542" v="389" actId="21"/>
          <ac:grpSpMkLst>
            <pc:docMk/>
            <pc:sldMk cId="2790452297" sldId="344"/>
            <ac:grpSpMk id="36" creationId="{6F0A5C1F-B4F5-4EF9-8AE2-9A29782A0B1E}"/>
          </ac:grpSpMkLst>
        </pc:grpChg>
        <pc:grpChg chg="add del mod">
          <ac:chgData name="Henry" userId="02f5dd7c-8d1c-42af-a438-3c1752a452dc" providerId="ADAL" clId="{5942D110-875B-42FB-AC8A-CA70EB9445B0}" dt="2020-11-13T11:19:01.542" v="389" actId="21"/>
          <ac:grpSpMkLst>
            <pc:docMk/>
            <pc:sldMk cId="2790452297" sldId="344"/>
            <ac:grpSpMk id="39" creationId="{9C19C4D0-A23C-4446-80B7-9487CDA493C0}"/>
          </ac:grpSpMkLst>
        </pc:grpChg>
        <pc:grpChg chg="add del mod">
          <ac:chgData name="Henry" userId="02f5dd7c-8d1c-42af-a438-3c1752a452dc" providerId="ADAL" clId="{5942D110-875B-42FB-AC8A-CA70EB9445B0}" dt="2020-11-13T11:19:01.542" v="389" actId="21"/>
          <ac:grpSpMkLst>
            <pc:docMk/>
            <pc:sldMk cId="2790452297" sldId="344"/>
            <ac:grpSpMk id="43" creationId="{61DF65D3-1B50-48B5-935A-99C0B2668657}"/>
          </ac:grpSpMkLst>
        </pc:grpChg>
        <pc:picChg chg="del">
          <ac:chgData name="Henry" userId="02f5dd7c-8d1c-42af-a438-3c1752a452dc" providerId="ADAL" clId="{5942D110-875B-42FB-AC8A-CA70EB9445B0}" dt="2020-11-12T14:53:53.994" v="62" actId="478"/>
          <ac:picMkLst>
            <pc:docMk/>
            <pc:sldMk cId="2790452297" sldId="344"/>
            <ac:picMk id="7" creationId="{799B1711-4391-BB43-8638-F5012871F056}"/>
          </ac:picMkLst>
        </pc:picChg>
        <pc:picChg chg="add del mod">
          <ac:chgData name="Henry" userId="02f5dd7c-8d1c-42af-a438-3c1752a452dc" providerId="ADAL" clId="{5942D110-875B-42FB-AC8A-CA70EB9445B0}" dt="2020-11-13T11:17:02.135" v="384" actId="478"/>
          <ac:picMkLst>
            <pc:docMk/>
            <pc:sldMk cId="2790452297" sldId="344"/>
            <ac:picMk id="8" creationId="{EFD7030B-BE3F-40E7-8EF2-4BAFC2B02CC2}"/>
          </ac:picMkLst>
        </pc:picChg>
        <pc:picChg chg="del">
          <ac:chgData name="Henry" userId="02f5dd7c-8d1c-42af-a438-3c1752a452dc" providerId="ADAL" clId="{5942D110-875B-42FB-AC8A-CA70EB9445B0}" dt="2020-11-12T14:53:53.994" v="62" actId="478"/>
          <ac:picMkLst>
            <pc:docMk/>
            <pc:sldMk cId="2790452297" sldId="344"/>
            <ac:picMk id="11" creationId="{1F00D6D0-2ADC-A846-AE25-20B09E37E5BE}"/>
          </ac:picMkLst>
        </pc:picChg>
        <pc:picChg chg="del">
          <ac:chgData name="Henry" userId="02f5dd7c-8d1c-42af-a438-3c1752a452dc" providerId="ADAL" clId="{5942D110-875B-42FB-AC8A-CA70EB9445B0}" dt="2020-11-12T14:53:53.994" v="62" actId="478"/>
          <ac:picMkLst>
            <pc:docMk/>
            <pc:sldMk cId="2790452297" sldId="344"/>
            <ac:picMk id="12" creationId="{F6BFACE5-7F6D-7049-BB1C-2FC106F82205}"/>
          </ac:picMkLst>
        </pc:picChg>
        <pc:picChg chg="del">
          <ac:chgData name="Henry" userId="02f5dd7c-8d1c-42af-a438-3c1752a452dc" providerId="ADAL" clId="{5942D110-875B-42FB-AC8A-CA70EB9445B0}" dt="2020-11-12T14:53:53.994" v="62" actId="478"/>
          <ac:picMkLst>
            <pc:docMk/>
            <pc:sldMk cId="2790452297" sldId="344"/>
            <ac:picMk id="13" creationId="{A42F8FC8-9732-194F-AA83-84EFE3D20891}"/>
          </ac:picMkLst>
        </pc:picChg>
        <pc:picChg chg="add del mod">
          <ac:chgData name="Henry" userId="02f5dd7c-8d1c-42af-a438-3c1752a452dc" providerId="ADAL" clId="{5942D110-875B-42FB-AC8A-CA70EB9445B0}" dt="2020-11-13T11:19:01.542" v="389" actId="21"/>
          <ac:picMkLst>
            <pc:docMk/>
            <pc:sldMk cId="2790452297" sldId="344"/>
            <ac:picMk id="25" creationId="{E943B370-2FA9-4E28-9D2C-83076CC0FFCC}"/>
          </ac:picMkLst>
        </pc:picChg>
        <pc:picChg chg="add del mod">
          <ac:chgData name="Henry" userId="02f5dd7c-8d1c-42af-a438-3c1752a452dc" providerId="ADAL" clId="{5942D110-875B-42FB-AC8A-CA70EB9445B0}" dt="2020-11-13T11:19:01.542" v="389" actId="21"/>
          <ac:picMkLst>
            <pc:docMk/>
            <pc:sldMk cId="2790452297" sldId="344"/>
            <ac:picMk id="29" creationId="{7E02862E-2F7F-41E2-B4B6-87616E955924}"/>
          </ac:picMkLst>
        </pc:picChg>
        <pc:picChg chg="add mod">
          <ac:chgData name="Henry" userId="02f5dd7c-8d1c-42af-a438-3c1752a452dc" providerId="ADAL" clId="{5942D110-875B-42FB-AC8A-CA70EB9445B0}" dt="2020-11-18T14:33:21.732" v="3816" actId="1076"/>
          <ac:picMkLst>
            <pc:docMk/>
            <pc:sldMk cId="2790452297" sldId="344"/>
            <ac:picMk id="47" creationId="{6FDA29BE-3292-463D-96DB-9B14901BE2E6}"/>
          </ac:picMkLst>
        </pc:picChg>
        <pc:cxnChg chg="add del mod">
          <ac:chgData name="Henry" userId="02f5dd7c-8d1c-42af-a438-3c1752a452dc" providerId="ADAL" clId="{5942D110-875B-42FB-AC8A-CA70EB9445B0}" dt="2020-11-13T11:19:01.542" v="389" actId="21"/>
          <ac:cxnSpMkLst>
            <pc:docMk/>
            <pc:sldMk cId="2790452297" sldId="344"/>
            <ac:cxnSpMk id="20" creationId="{7BAF3590-56DF-423D-875E-A08A2D3F3B38}"/>
          </ac:cxnSpMkLst>
        </pc:cxnChg>
        <pc:cxnChg chg="add del mod">
          <ac:chgData name="Henry" userId="02f5dd7c-8d1c-42af-a438-3c1752a452dc" providerId="ADAL" clId="{5942D110-875B-42FB-AC8A-CA70EB9445B0}" dt="2020-11-13T11:19:01.542" v="389" actId="21"/>
          <ac:cxnSpMkLst>
            <pc:docMk/>
            <pc:sldMk cId="2790452297" sldId="344"/>
            <ac:cxnSpMk id="21" creationId="{4449FC96-AFC2-495F-B924-5A5EE7B4AEA3}"/>
          </ac:cxnSpMkLst>
        </pc:cxnChg>
        <pc:cxnChg chg="mod">
          <ac:chgData name="Henry" userId="02f5dd7c-8d1c-42af-a438-3c1752a452dc" providerId="ADAL" clId="{5942D110-875B-42FB-AC8A-CA70EB9445B0}" dt="2020-11-13T11:17:06.478" v="386" actId="1076"/>
          <ac:cxnSpMkLst>
            <pc:docMk/>
            <pc:sldMk cId="2790452297" sldId="344"/>
            <ac:cxnSpMk id="34" creationId="{FB3F2283-2601-4A21-A688-F8FC275236DB}"/>
          </ac:cxnSpMkLst>
        </pc:cxnChg>
        <pc:cxnChg chg="mod">
          <ac:chgData name="Henry" userId="02f5dd7c-8d1c-42af-a438-3c1752a452dc" providerId="ADAL" clId="{5942D110-875B-42FB-AC8A-CA70EB9445B0}" dt="2020-11-13T11:17:06.478" v="386" actId="1076"/>
          <ac:cxnSpMkLst>
            <pc:docMk/>
            <pc:sldMk cId="2790452297" sldId="344"/>
            <ac:cxnSpMk id="35" creationId="{C873559F-6D9F-49F2-9A90-C548A0820117}"/>
          </ac:cxnSpMkLst>
        </pc:cxnChg>
        <pc:cxnChg chg="mod">
          <ac:chgData name="Henry" userId="02f5dd7c-8d1c-42af-a438-3c1752a452dc" providerId="ADAL" clId="{5942D110-875B-42FB-AC8A-CA70EB9445B0}" dt="2020-11-13T11:17:06.478" v="386" actId="1076"/>
          <ac:cxnSpMkLst>
            <pc:docMk/>
            <pc:sldMk cId="2790452297" sldId="344"/>
            <ac:cxnSpMk id="37" creationId="{5484FC1F-1B05-46FF-9BF1-1B3254EE0E21}"/>
          </ac:cxnSpMkLst>
        </pc:cxnChg>
        <pc:cxnChg chg="mod">
          <ac:chgData name="Henry" userId="02f5dd7c-8d1c-42af-a438-3c1752a452dc" providerId="ADAL" clId="{5942D110-875B-42FB-AC8A-CA70EB9445B0}" dt="2020-11-13T11:17:06.478" v="386" actId="1076"/>
          <ac:cxnSpMkLst>
            <pc:docMk/>
            <pc:sldMk cId="2790452297" sldId="344"/>
            <ac:cxnSpMk id="38" creationId="{48C54D38-5403-4DE1-ABAD-221AC081A4DD}"/>
          </ac:cxnSpMkLst>
        </pc:cxnChg>
        <pc:cxnChg chg="mod">
          <ac:chgData name="Henry" userId="02f5dd7c-8d1c-42af-a438-3c1752a452dc" providerId="ADAL" clId="{5942D110-875B-42FB-AC8A-CA70EB9445B0}" dt="2020-11-13T11:17:06.478" v="386" actId="1076"/>
          <ac:cxnSpMkLst>
            <pc:docMk/>
            <pc:sldMk cId="2790452297" sldId="344"/>
            <ac:cxnSpMk id="40" creationId="{F6DF3FDB-AA76-4125-BEFC-1CBEB8D23FCA}"/>
          </ac:cxnSpMkLst>
        </pc:cxnChg>
        <pc:cxnChg chg="mod">
          <ac:chgData name="Henry" userId="02f5dd7c-8d1c-42af-a438-3c1752a452dc" providerId="ADAL" clId="{5942D110-875B-42FB-AC8A-CA70EB9445B0}" dt="2020-11-13T11:17:06.478" v="386" actId="1076"/>
          <ac:cxnSpMkLst>
            <pc:docMk/>
            <pc:sldMk cId="2790452297" sldId="344"/>
            <ac:cxnSpMk id="41" creationId="{DBFC5489-D73F-472D-8623-EAC98B980033}"/>
          </ac:cxnSpMkLst>
        </pc:cxnChg>
        <pc:cxnChg chg="mod">
          <ac:chgData name="Henry" userId="02f5dd7c-8d1c-42af-a438-3c1752a452dc" providerId="ADAL" clId="{5942D110-875B-42FB-AC8A-CA70EB9445B0}" dt="2020-11-13T11:17:06.478" v="386" actId="1076"/>
          <ac:cxnSpMkLst>
            <pc:docMk/>
            <pc:sldMk cId="2790452297" sldId="344"/>
            <ac:cxnSpMk id="44" creationId="{F4F94953-C477-4D29-84B2-228FB3217DE1}"/>
          </ac:cxnSpMkLst>
        </pc:cxnChg>
        <pc:cxnChg chg="mod">
          <ac:chgData name="Henry" userId="02f5dd7c-8d1c-42af-a438-3c1752a452dc" providerId="ADAL" clId="{5942D110-875B-42FB-AC8A-CA70EB9445B0}" dt="2020-11-13T11:17:06.478" v="386" actId="1076"/>
          <ac:cxnSpMkLst>
            <pc:docMk/>
            <pc:sldMk cId="2790452297" sldId="344"/>
            <ac:cxnSpMk id="45" creationId="{52A105A9-09D4-4ADC-9069-6511568D0A76}"/>
          </ac:cxnSpMkLst>
        </pc:cxnChg>
      </pc:sldChg>
      <pc:sldChg chg="addSp delSp modSp add mod">
        <pc:chgData name="Henry" userId="02f5dd7c-8d1c-42af-a438-3c1752a452dc" providerId="ADAL" clId="{5942D110-875B-42FB-AC8A-CA70EB9445B0}" dt="2020-11-13T10:04:24.121" v="134" actId="14100"/>
        <pc:sldMkLst>
          <pc:docMk/>
          <pc:sldMk cId="4245936858" sldId="345"/>
        </pc:sldMkLst>
        <pc:spChg chg="mod">
          <ac:chgData name="Henry" userId="02f5dd7c-8d1c-42af-a438-3c1752a452dc" providerId="ADAL" clId="{5942D110-875B-42FB-AC8A-CA70EB9445B0}" dt="2020-11-12T16:08:44.101" v="106" actId="20577"/>
          <ac:spMkLst>
            <pc:docMk/>
            <pc:sldMk cId="4245936858" sldId="345"/>
            <ac:spMk id="2" creationId="{3F62044A-0FD2-48A0-A969-AF8653966472}"/>
          </ac:spMkLst>
        </pc:spChg>
        <pc:spChg chg="del">
          <ac:chgData name="Henry" userId="02f5dd7c-8d1c-42af-a438-3c1752a452dc" providerId="ADAL" clId="{5942D110-875B-42FB-AC8A-CA70EB9445B0}" dt="2020-11-12T16:08:51.562" v="108" actId="478"/>
          <ac:spMkLst>
            <pc:docMk/>
            <pc:sldMk cId="4245936858" sldId="345"/>
            <ac:spMk id="5" creationId="{F5E7AF60-05A5-E846-8FE2-463486EF3220}"/>
          </ac:spMkLst>
        </pc:spChg>
        <pc:spChg chg="add mod">
          <ac:chgData name="Henry" userId="02f5dd7c-8d1c-42af-a438-3c1752a452dc" providerId="ADAL" clId="{5942D110-875B-42FB-AC8A-CA70EB9445B0}" dt="2020-11-12T16:09:18.133" v="112" actId="1076"/>
          <ac:spMkLst>
            <pc:docMk/>
            <pc:sldMk cId="4245936858" sldId="345"/>
            <ac:spMk id="6" creationId="{CD77F8AD-2898-402C-9B7D-2E860A564BCE}"/>
          </ac:spMkLst>
        </pc:spChg>
        <pc:spChg chg="del">
          <ac:chgData name="Henry" userId="02f5dd7c-8d1c-42af-a438-3c1752a452dc" providerId="ADAL" clId="{5942D110-875B-42FB-AC8A-CA70EB9445B0}" dt="2020-11-12T16:08:50.154" v="107" actId="478"/>
          <ac:spMkLst>
            <pc:docMk/>
            <pc:sldMk cId="4245936858" sldId="345"/>
            <ac:spMk id="7" creationId="{84C5AB89-5480-A040-BD4C-CBED7C681A4F}"/>
          </ac:spMkLst>
        </pc:spChg>
        <pc:picChg chg="add mod">
          <ac:chgData name="Henry" userId="02f5dd7c-8d1c-42af-a438-3c1752a452dc" providerId="ADAL" clId="{5942D110-875B-42FB-AC8A-CA70EB9445B0}" dt="2020-11-12T16:08:56.436" v="110" actId="14100"/>
          <ac:picMkLst>
            <pc:docMk/>
            <pc:sldMk cId="4245936858" sldId="345"/>
            <ac:picMk id="4" creationId="{89D3F4E5-319E-4089-819E-3878A08D24CB}"/>
          </ac:picMkLst>
        </pc:picChg>
        <pc:picChg chg="add mod">
          <ac:chgData name="Henry" userId="02f5dd7c-8d1c-42af-a438-3c1752a452dc" providerId="ADAL" clId="{5942D110-875B-42FB-AC8A-CA70EB9445B0}" dt="2020-11-12T16:50:07.280" v="115" actId="1076"/>
          <ac:picMkLst>
            <pc:docMk/>
            <pc:sldMk cId="4245936858" sldId="345"/>
            <ac:picMk id="9" creationId="{1E74E36E-52A8-44F9-97AA-FA2B486429F2}"/>
          </ac:picMkLst>
        </pc:picChg>
        <pc:picChg chg="add mod">
          <ac:chgData name="Henry" userId="02f5dd7c-8d1c-42af-a438-3c1752a452dc" providerId="ADAL" clId="{5942D110-875B-42FB-AC8A-CA70EB9445B0}" dt="2020-11-12T16:51:36.087" v="119" actId="14100"/>
          <ac:picMkLst>
            <pc:docMk/>
            <pc:sldMk cId="4245936858" sldId="345"/>
            <ac:picMk id="13" creationId="{B964AEC6-7447-466F-A8CD-32C52BCB60DD}"/>
          </ac:picMkLst>
        </pc:picChg>
        <pc:picChg chg="add mod">
          <ac:chgData name="Henry" userId="02f5dd7c-8d1c-42af-a438-3c1752a452dc" providerId="ADAL" clId="{5942D110-875B-42FB-AC8A-CA70EB9445B0}" dt="2020-11-12T16:55:14.100" v="122" actId="1076"/>
          <ac:picMkLst>
            <pc:docMk/>
            <pc:sldMk cId="4245936858" sldId="345"/>
            <ac:picMk id="14" creationId="{A5D92D9A-77B1-42CF-A63F-4465DEFA9E97}"/>
          </ac:picMkLst>
        </pc:picChg>
        <pc:picChg chg="add mod">
          <ac:chgData name="Henry" userId="02f5dd7c-8d1c-42af-a438-3c1752a452dc" providerId="ADAL" clId="{5942D110-875B-42FB-AC8A-CA70EB9445B0}" dt="2020-11-12T17:01:40.623" v="126" actId="14100"/>
          <ac:picMkLst>
            <pc:docMk/>
            <pc:sldMk cId="4245936858" sldId="345"/>
            <ac:picMk id="15" creationId="{37C218D9-2030-4976-A1FA-6B1A5418EC24}"/>
          </ac:picMkLst>
        </pc:picChg>
        <pc:picChg chg="add mod">
          <ac:chgData name="Henry" userId="02f5dd7c-8d1c-42af-a438-3c1752a452dc" providerId="ADAL" clId="{5942D110-875B-42FB-AC8A-CA70EB9445B0}" dt="2020-11-12T17:08:37.362" v="130" actId="14100"/>
          <ac:picMkLst>
            <pc:docMk/>
            <pc:sldMk cId="4245936858" sldId="345"/>
            <ac:picMk id="16" creationId="{5F0CBA2E-E997-4147-8810-37EA6BE293D4}"/>
          </ac:picMkLst>
        </pc:picChg>
        <pc:picChg chg="add mod">
          <ac:chgData name="Henry" userId="02f5dd7c-8d1c-42af-a438-3c1752a452dc" providerId="ADAL" clId="{5942D110-875B-42FB-AC8A-CA70EB9445B0}" dt="2020-11-13T10:04:24.121" v="134" actId="14100"/>
          <ac:picMkLst>
            <pc:docMk/>
            <pc:sldMk cId="4245936858" sldId="345"/>
            <ac:picMk id="17" creationId="{36A04F0A-8E3E-40D1-BBB1-42493D7AD894}"/>
          </ac:picMkLst>
        </pc:picChg>
      </pc:sldChg>
      <pc:sldChg chg="addSp delSp modSp add del mod">
        <pc:chgData name="Henry" userId="02f5dd7c-8d1c-42af-a438-3c1752a452dc" providerId="ADAL" clId="{5942D110-875B-42FB-AC8A-CA70EB9445B0}" dt="2020-11-18T14:16:42.870" v="3809" actId="47"/>
        <pc:sldMkLst>
          <pc:docMk/>
          <pc:sldMk cId="1791088145" sldId="346"/>
        </pc:sldMkLst>
        <pc:spChg chg="mod">
          <ac:chgData name="Henry" userId="02f5dd7c-8d1c-42af-a438-3c1752a452dc" providerId="ADAL" clId="{5942D110-875B-42FB-AC8A-CA70EB9445B0}" dt="2020-11-13T11:04:11.083" v="383" actId="20577"/>
          <ac:spMkLst>
            <pc:docMk/>
            <pc:sldMk cId="1791088145" sldId="346"/>
            <ac:spMk id="2" creationId="{3F62044A-0FD2-48A0-A969-AF8653966472}"/>
          </ac:spMkLst>
        </pc:spChg>
        <pc:spChg chg="mod">
          <ac:chgData name="Henry" userId="02f5dd7c-8d1c-42af-a438-3c1752a452dc" providerId="ADAL" clId="{5942D110-875B-42FB-AC8A-CA70EB9445B0}" dt="2020-11-13T12:25:37.509" v="732" actId="20577"/>
          <ac:spMkLst>
            <pc:docMk/>
            <pc:sldMk cId="1791088145" sldId="346"/>
            <ac:spMk id="9" creationId="{05402393-FFAD-4674-B173-20ACF59F4BDF}"/>
          </ac:spMkLst>
        </pc:spChg>
        <pc:spChg chg="mod">
          <ac:chgData name="Henry" userId="02f5dd7c-8d1c-42af-a438-3c1752a452dc" providerId="ADAL" clId="{5942D110-875B-42FB-AC8A-CA70EB9445B0}" dt="2020-11-13T12:30:06.315" v="776" actId="20577"/>
          <ac:spMkLst>
            <pc:docMk/>
            <pc:sldMk cId="1791088145" sldId="346"/>
            <ac:spMk id="10" creationId="{7F1661AC-E5DD-1740-B58A-E9F01EEDEF60}"/>
          </ac:spMkLst>
        </pc:spChg>
        <pc:spChg chg="add del mod">
          <ac:chgData name="Henry" userId="02f5dd7c-8d1c-42af-a438-3c1752a452dc" providerId="ADAL" clId="{5942D110-875B-42FB-AC8A-CA70EB9445B0}" dt="2020-11-13T11:19:39.462" v="404" actId="478"/>
          <ac:spMkLst>
            <pc:docMk/>
            <pc:sldMk cId="1791088145" sldId="346"/>
            <ac:spMk id="11" creationId="{72BBF1CB-109F-46E0-97A6-6123E71A78E5}"/>
          </ac:spMkLst>
        </pc:spChg>
        <pc:spChg chg="add mod">
          <ac:chgData name="Henry" userId="02f5dd7c-8d1c-42af-a438-3c1752a452dc" providerId="ADAL" clId="{5942D110-875B-42FB-AC8A-CA70EB9445B0}" dt="2020-11-13T12:09:49.856" v="521" actId="14100"/>
          <ac:spMkLst>
            <pc:docMk/>
            <pc:sldMk cId="1791088145" sldId="346"/>
            <ac:spMk id="12" creationId="{AF954B68-31B2-4021-8D71-168A328C44B8}"/>
          </ac:spMkLst>
        </pc:spChg>
        <pc:spChg chg="add mod">
          <ac:chgData name="Henry" userId="02f5dd7c-8d1c-42af-a438-3c1752a452dc" providerId="ADAL" clId="{5942D110-875B-42FB-AC8A-CA70EB9445B0}" dt="2020-11-13T11:40:37.132" v="405" actId="1076"/>
          <ac:spMkLst>
            <pc:docMk/>
            <pc:sldMk cId="1791088145" sldId="346"/>
            <ac:spMk id="13" creationId="{40B6D454-60CB-427D-A839-5B3FE293EE28}"/>
          </ac:spMkLst>
        </pc:spChg>
        <pc:spChg chg="add del mod">
          <ac:chgData name="Henry" userId="02f5dd7c-8d1c-42af-a438-3c1752a452dc" providerId="ADAL" clId="{5942D110-875B-42FB-AC8A-CA70EB9445B0}" dt="2020-11-13T11:19:25.506" v="400" actId="478"/>
          <ac:spMkLst>
            <pc:docMk/>
            <pc:sldMk cId="1791088145" sldId="346"/>
            <ac:spMk id="18" creationId="{81BB9939-06E6-4744-8C1C-DB981038E187}"/>
          </ac:spMkLst>
        </pc:spChg>
        <pc:spChg chg="add del mod">
          <ac:chgData name="Henry" userId="02f5dd7c-8d1c-42af-a438-3c1752a452dc" providerId="ADAL" clId="{5942D110-875B-42FB-AC8A-CA70EB9445B0}" dt="2020-11-13T11:19:22.504" v="397" actId="478"/>
          <ac:spMkLst>
            <pc:docMk/>
            <pc:sldMk cId="1791088145" sldId="346"/>
            <ac:spMk id="19" creationId="{EFBCC412-142E-4BBA-B513-651A774262E7}"/>
          </ac:spMkLst>
        </pc:spChg>
        <pc:spChg chg="add del mod">
          <ac:chgData name="Henry" userId="02f5dd7c-8d1c-42af-a438-3c1752a452dc" providerId="ADAL" clId="{5942D110-875B-42FB-AC8A-CA70EB9445B0}" dt="2020-11-13T11:52:39.737" v="416" actId="478"/>
          <ac:spMkLst>
            <pc:docMk/>
            <pc:sldMk cId="1791088145" sldId="346"/>
            <ac:spMk id="20" creationId="{C7284D05-174F-41F5-98D4-806CE2799267}"/>
          </ac:spMkLst>
        </pc:spChg>
        <pc:spChg chg="add del mod">
          <ac:chgData name="Henry" userId="02f5dd7c-8d1c-42af-a438-3c1752a452dc" providerId="ADAL" clId="{5942D110-875B-42FB-AC8A-CA70EB9445B0}" dt="2020-11-13T11:19:15.461" v="393" actId="478"/>
          <ac:spMkLst>
            <pc:docMk/>
            <pc:sldMk cId="1791088145" sldId="346"/>
            <ac:spMk id="22" creationId="{892FC205-2695-4D5A-B550-68A8B2AE369B}"/>
          </ac:spMkLst>
        </pc:spChg>
        <pc:spChg chg="add mod">
          <ac:chgData name="Henry" userId="02f5dd7c-8d1c-42af-a438-3c1752a452dc" providerId="ADAL" clId="{5942D110-875B-42FB-AC8A-CA70EB9445B0}" dt="2020-11-13T11:40:37.132" v="405" actId="1076"/>
          <ac:spMkLst>
            <pc:docMk/>
            <pc:sldMk cId="1791088145" sldId="346"/>
            <ac:spMk id="23" creationId="{D11993F7-2EFD-4136-BA6D-3ADFA1AA5093}"/>
          </ac:spMkLst>
        </pc:spChg>
        <pc:spChg chg="add del mod">
          <ac:chgData name="Henry" userId="02f5dd7c-8d1c-42af-a438-3c1752a452dc" providerId="ADAL" clId="{5942D110-875B-42FB-AC8A-CA70EB9445B0}" dt="2020-11-13T11:52:36.493" v="415" actId="478"/>
          <ac:spMkLst>
            <pc:docMk/>
            <pc:sldMk cId="1791088145" sldId="346"/>
            <ac:spMk id="24" creationId="{28279C47-BDFF-48CF-8DF2-81657481FE44}"/>
          </ac:spMkLst>
        </pc:spChg>
        <pc:spChg chg="add del mod">
          <ac:chgData name="Henry" userId="02f5dd7c-8d1c-42af-a438-3c1752a452dc" providerId="ADAL" clId="{5942D110-875B-42FB-AC8A-CA70EB9445B0}" dt="2020-11-13T11:58:01.919" v="477" actId="478"/>
          <ac:spMkLst>
            <pc:docMk/>
            <pc:sldMk cId="1791088145" sldId="346"/>
            <ac:spMk id="26" creationId="{623FD1A7-7689-4F0F-9DD9-6358524665A7}"/>
          </ac:spMkLst>
        </pc:spChg>
        <pc:spChg chg="add del mod">
          <ac:chgData name="Henry" userId="02f5dd7c-8d1c-42af-a438-3c1752a452dc" providerId="ADAL" clId="{5942D110-875B-42FB-AC8A-CA70EB9445B0}" dt="2020-11-13T11:19:37.492" v="403" actId="478"/>
          <ac:spMkLst>
            <pc:docMk/>
            <pc:sldMk cId="1791088145" sldId="346"/>
            <ac:spMk id="27" creationId="{27C42930-D571-44D9-BF0A-51D27C6D6644}"/>
          </ac:spMkLst>
        </pc:spChg>
        <pc:spChg chg="add del mod">
          <ac:chgData name="Henry" userId="02f5dd7c-8d1c-42af-a438-3c1752a452dc" providerId="ADAL" clId="{5942D110-875B-42FB-AC8A-CA70EB9445B0}" dt="2020-11-13T11:19:19.145" v="396" actId="478"/>
          <ac:spMkLst>
            <pc:docMk/>
            <pc:sldMk cId="1791088145" sldId="346"/>
            <ac:spMk id="28" creationId="{0F8F3735-6180-4320-81F2-CC33F7279351}"/>
          </ac:spMkLst>
        </pc:spChg>
        <pc:spChg chg="add mod">
          <ac:chgData name="Henry" userId="02f5dd7c-8d1c-42af-a438-3c1752a452dc" providerId="ADAL" clId="{5942D110-875B-42FB-AC8A-CA70EB9445B0}" dt="2020-11-13T11:40:37.132" v="405" actId="1076"/>
          <ac:spMkLst>
            <pc:docMk/>
            <pc:sldMk cId="1791088145" sldId="346"/>
            <ac:spMk id="38" creationId="{EC0C8FBA-89A9-437E-97AA-EFCF801FF675}"/>
          </ac:spMkLst>
        </pc:spChg>
        <pc:spChg chg="add mod topLvl">
          <ac:chgData name="Henry" userId="02f5dd7c-8d1c-42af-a438-3c1752a452dc" providerId="ADAL" clId="{5942D110-875B-42FB-AC8A-CA70EB9445B0}" dt="2020-11-13T12:10:02.217" v="522" actId="1076"/>
          <ac:spMkLst>
            <pc:docMk/>
            <pc:sldMk cId="1791088145" sldId="346"/>
            <ac:spMk id="42" creationId="{474DF621-E192-4DBD-A76C-D7B15B9901FD}"/>
          </ac:spMkLst>
        </pc:spChg>
        <pc:spChg chg="add del mod">
          <ac:chgData name="Henry" userId="02f5dd7c-8d1c-42af-a438-3c1752a452dc" providerId="ADAL" clId="{5942D110-875B-42FB-AC8A-CA70EB9445B0}" dt="2020-11-13T11:57:52.771" v="475" actId="478"/>
          <ac:spMkLst>
            <pc:docMk/>
            <pc:sldMk cId="1791088145" sldId="346"/>
            <ac:spMk id="56" creationId="{E4AEA1E9-CCCE-4FE2-BE1E-CB37699F4625}"/>
          </ac:spMkLst>
        </pc:spChg>
        <pc:spChg chg="add mod">
          <ac:chgData name="Henry" userId="02f5dd7c-8d1c-42af-a438-3c1752a452dc" providerId="ADAL" clId="{5942D110-875B-42FB-AC8A-CA70EB9445B0}" dt="2020-11-13T12:06:52.715" v="483" actId="1076"/>
          <ac:spMkLst>
            <pc:docMk/>
            <pc:sldMk cId="1791088145" sldId="346"/>
            <ac:spMk id="62" creationId="{DAB2AE22-890B-4885-8B5F-9E4A56C1217B}"/>
          </ac:spMkLst>
        </pc:spChg>
        <pc:spChg chg="add del mod">
          <ac:chgData name="Henry" userId="02f5dd7c-8d1c-42af-a438-3c1752a452dc" providerId="ADAL" clId="{5942D110-875B-42FB-AC8A-CA70EB9445B0}" dt="2020-11-13T12:07:02.825" v="486" actId="478"/>
          <ac:spMkLst>
            <pc:docMk/>
            <pc:sldMk cId="1791088145" sldId="346"/>
            <ac:spMk id="68" creationId="{B4FB39BD-3602-4116-A559-ABD49E271FF8}"/>
          </ac:spMkLst>
        </pc:spChg>
        <pc:spChg chg="add mod">
          <ac:chgData name="Henry" userId="02f5dd7c-8d1c-42af-a438-3c1752a452dc" providerId="ADAL" clId="{5942D110-875B-42FB-AC8A-CA70EB9445B0}" dt="2020-11-13T12:07:08.186" v="488" actId="1076"/>
          <ac:spMkLst>
            <pc:docMk/>
            <pc:sldMk cId="1791088145" sldId="346"/>
            <ac:spMk id="70" creationId="{F6AD4B57-18F0-472F-86DD-FAB0C8FBDCB4}"/>
          </ac:spMkLst>
        </pc:spChg>
        <pc:spChg chg="add mod">
          <ac:chgData name="Henry" userId="02f5dd7c-8d1c-42af-a438-3c1752a452dc" providerId="ADAL" clId="{5942D110-875B-42FB-AC8A-CA70EB9445B0}" dt="2020-11-13T12:11:03.639" v="541" actId="1076"/>
          <ac:spMkLst>
            <pc:docMk/>
            <pc:sldMk cId="1791088145" sldId="346"/>
            <ac:spMk id="102" creationId="{3DCA5A42-DDF7-4F21-A519-3DEE08FA4200}"/>
          </ac:spMkLst>
        </pc:spChg>
        <pc:grpChg chg="add del mod">
          <ac:chgData name="Henry" userId="02f5dd7c-8d1c-42af-a438-3c1752a452dc" providerId="ADAL" clId="{5942D110-875B-42FB-AC8A-CA70EB9445B0}" dt="2020-11-13T11:54:12.017" v="430" actId="165"/>
          <ac:grpSpMkLst>
            <pc:docMk/>
            <pc:sldMk cId="1791088145" sldId="346"/>
            <ac:grpSpMk id="7" creationId="{7BB2BA33-F613-4FB5-8732-5CBF7BDC0754}"/>
          </ac:grpSpMkLst>
        </pc:grpChg>
        <pc:grpChg chg="add del mod">
          <ac:chgData name="Henry" userId="02f5dd7c-8d1c-42af-a438-3c1752a452dc" providerId="ADAL" clId="{5942D110-875B-42FB-AC8A-CA70EB9445B0}" dt="2020-11-13T11:56:49.359" v="450" actId="478"/>
          <ac:grpSpMkLst>
            <pc:docMk/>
            <pc:sldMk cId="1791088145" sldId="346"/>
            <ac:grpSpMk id="29" creationId="{1B57A10C-8F7D-471E-9F38-BE37C2E42478}"/>
          </ac:grpSpMkLst>
        </pc:grpChg>
        <pc:grpChg chg="add del mod">
          <ac:chgData name="Henry" userId="02f5dd7c-8d1c-42af-a438-3c1752a452dc" providerId="ADAL" clId="{5942D110-875B-42FB-AC8A-CA70EB9445B0}" dt="2020-11-13T11:56:51.702" v="451" actId="478"/>
          <ac:grpSpMkLst>
            <pc:docMk/>
            <pc:sldMk cId="1791088145" sldId="346"/>
            <ac:grpSpMk id="32" creationId="{EE8B24EF-7AC8-4646-B561-F3B3AF8FA946}"/>
          </ac:grpSpMkLst>
        </pc:grpChg>
        <pc:grpChg chg="add del mod">
          <ac:chgData name="Henry" userId="02f5dd7c-8d1c-42af-a438-3c1752a452dc" providerId="ADAL" clId="{5942D110-875B-42FB-AC8A-CA70EB9445B0}" dt="2020-11-13T11:57:00.646" v="452" actId="478"/>
          <ac:grpSpMkLst>
            <pc:docMk/>
            <pc:sldMk cId="1791088145" sldId="346"/>
            <ac:grpSpMk id="35" creationId="{795A3780-42D6-4B3C-A403-E5710223BAC3}"/>
          </ac:grpSpMkLst>
        </pc:grpChg>
        <pc:grpChg chg="add del mod">
          <ac:chgData name="Henry" userId="02f5dd7c-8d1c-42af-a438-3c1752a452dc" providerId="ADAL" clId="{5942D110-875B-42FB-AC8A-CA70EB9445B0}" dt="2020-11-13T11:57:02.640" v="453" actId="478"/>
          <ac:grpSpMkLst>
            <pc:docMk/>
            <pc:sldMk cId="1791088145" sldId="346"/>
            <ac:grpSpMk id="39" creationId="{C7F47F74-02E5-4CD9-80DD-26DE4DCB5691}"/>
          </ac:grpSpMkLst>
        </pc:grpChg>
        <pc:grpChg chg="add del mod topLvl">
          <ac:chgData name="Henry" userId="02f5dd7c-8d1c-42af-a438-3c1752a452dc" providerId="ADAL" clId="{5942D110-875B-42FB-AC8A-CA70EB9445B0}" dt="2020-11-13T11:54:17.100" v="431" actId="165"/>
          <ac:grpSpMkLst>
            <pc:docMk/>
            <pc:sldMk cId="1791088145" sldId="346"/>
            <ac:grpSpMk id="43" creationId="{F9FADA0E-D4C2-4226-A614-FC805624557D}"/>
          </ac:grpSpMkLst>
        </pc:grpChg>
        <pc:grpChg chg="add del mod topLvl">
          <ac:chgData name="Henry" userId="02f5dd7c-8d1c-42af-a438-3c1752a452dc" providerId="ADAL" clId="{5942D110-875B-42FB-AC8A-CA70EB9445B0}" dt="2020-11-13T11:54:17.100" v="431" actId="165"/>
          <ac:grpSpMkLst>
            <pc:docMk/>
            <pc:sldMk cId="1791088145" sldId="346"/>
            <ac:grpSpMk id="46" creationId="{822C9965-3AA7-4217-B4C4-43B0FD7F1188}"/>
          </ac:grpSpMkLst>
        </pc:grpChg>
        <pc:picChg chg="add mod">
          <ac:chgData name="Henry" userId="02f5dd7c-8d1c-42af-a438-3c1752a452dc" providerId="ADAL" clId="{5942D110-875B-42FB-AC8A-CA70EB9445B0}" dt="2020-11-13T11:57:16.433" v="463" actId="1076"/>
          <ac:picMkLst>
            <pc:docMk/>
            <pc:sldMk cId="1791088145" sldId="346"/>
            <ac:picMk id="6" creationId="{5987BCC1-65AF-404C-8FAA-C158B4B558CA}"/>
          </ac:picMkLst>
        </pc:picChg>
        <pc:picChg chg="del">
          <ac:chgData name="Henry" userId="02f5dd7c-8d1c-42af-a438-3c1752a452dc" providerId="ADAL" clId="{5942D110-875B-42FB-AC8A-CA70EB9445B0}" dt="2020-11-13T11:19:06.778" v="391" actId="478"/>
          <ac:picMkLst>
            <pc:docMk/>
            <pc:sldMk cId="1791088145" sldId="346"/>
            <ac:picMk id="8" creationId="{EFD7030B-BE3F-40E7-8EF2-4BAFC2B02CC2}"/>
          </ac:picMkLst>
        </pc:picChg>
        <pc:picChg chg="add del mod">
          <ac:chgData name="Henry" userId="02f5dd7c-8d1c-42af-a438-3c1752a452dc" providerId="ADAL" clId="{5942D110-875B-42FB-AC8A-CA70EB9445B0}" dt="2020-11-13T11:19:15.461" v="393" actId="478"/>
          <ac:picMkLst>
            <pc:docMk/>
            <pc:sldMk cId="1791088145" sldId="346"/>
            <ac:picMk id="21" creationId="{21C3B9DA-8654-49E2-9038-BE0FB272C88E}"/>
          </ac:picMkLst>
        </pc:picChg>
        <pc:picChg chg="add del mod">
          <ac:chgData name="Henry" userId="02f5dd7c-8d1c-42af-a438-3c1752a452dc" providerId="ADAL" clId="{5942D110-875B-42FB-AC8A-CA70EB9445B0}" dt="2020-11-13T11:52:33.417" v="414" actId="478"/>
          <ac:picMkLst>
            <pc:docMk/>
            <pc:sldMk cId="1791088145" sldId="346"/>
            <ac:picMk id="25" creationId="{E0C050BD-2FAD-4DBB-A49B-C37710536E55}"/>
          </ac:picMkLst>
        </pc:picChg>
        <pc:cxnChg chg="add del mod">
          <ac:chgData name="Henry" userId="02f5dd7c-8d1c-42af-a438-3c1752a452dc" providerId="ADAL" clId="{5942D110-875B-42FB-AC8A-CA70EB9445B0}" dt="2020-11-13T11:19:24.762" v="399" actId="478"/>
          <ac:cxnSpMkLst>
            <pc:docMk/>
            <pc:sldMk cId="1791088145" sldId="346"/>
            <ac:cxnSpMk id="14" creationId="{0B95058F-F83D-492E-AFC6-46BB955452EA}"/>
          </ac:cxnSpMkLst>
        </pc:cxnChg>
        <pc:cxnChg chg="add del mod">
          <ac:chgData name="Henry" userId="02f5dd7c-8d1c-42af-a438-3c1752a452dc" providerId="ADAL" clId="{5942D110-875B-42FB-AC8A-CA70EB9445B0}" dt="2020-11-13T11:19:23.734" v="398" actId="478"/>
          <ac:cxnSpMkLst>
            <pc:docMk/>
            <pc:sldMk cId="1791088145" sldId="346"/>
            <ac:cxnSpMk id="17" creationId="{C5B4C0C9-6503-4889-B793-441D83BFA14C}"/>
          </ac:cxnSpMkLst>
        </pc:cxnChg>
        <pc:cxnChg chg="mod topLvl">
          <ac:chgData name="Henry" userId="02f5dd7c-8d1c-42af-a438-3c1752a452dc" providerId="ADAL" clId="{5942D110-875B-42FB-AC8A-CA70EB9445B0}" dt="2020-11-13T11:57:12.256" v="462" actId="1036"/>
          <ac:cxnSpMkLst>
            <pc:docMk/>
            <pc:sldMk cId="1791088145" sldId="346"/>
            <ac:cxnSpMk id="30" creationId="{CDE8BCB9-A1A9-4586-ACF7-05BD57FB1122}"/>
          </ac:cxnSpMkLst>
        </pc:cxnChg>
        <pc:cxnChg chg="del mod topLvl">
          <ac:chgData name="Henry" userId="02f5dd7c-8d1c-42af-a438-3c1752a452dc" providerId="ADAL" clId="{5942D110-875B-42FB-AC8A-CA70EB9445B0}" dt="2020-11-13T11:56:49.359" v="450" actId="478"/>
          <ac:cxnSpMkLst>
            <pc:docMk/>
            <pc:sldMk cId="1791088145" sldId="346"/>
            <ac:cxnSpMk id="31" creationId="{D805C23D-DE12-47AA-8666-04CF8EDA1564}"/>
          </ac:cxnSpMkLst>
        </pc:cxnChg>
        <pc:cxnChg chg="mod topLvl">
          <ac:chgData name="Henry" userId="02f5dd7c-8d1c-42af-a438-3c1752a452dc" providerId="ADAL" clId="{5942D110-875B-42FB-AC8A-CA70EB9445B0}" dt="2020-11-13T11:57:12.256" v="462" actId="1036"/>
          <ac:cxnSpMkLst>
            <pc:docMk/>
            <pc:sldMk cId="1791088145" sldId="346"/>
            <ac:cxnSpMk id="33" creationId="{0E9886A2-87B9-4AC1-86AB-689C3A92D86C}"/>
          </ac:cxnSpMkLst>
        </pc:cxnChg>
        <pc:cxnChg chg="del mod topLvl">
          <ac:chgData name="Henry" userId="02f5dd7c-8d1c-42af-a438-3c1752a452dc" providerId="ADAL" clId="{5942D110-875B-42FB-AC8A-CA70EB9445B0}" dt="2020-11-13T11:56:51.702" v="451" actId="478"/>
          <ac:cxnSpMkLst>
            <pc:docMk/>
            <pc:sldMk cId="1791088145" sldId="346"/>
            <ac:cxnSpMk id="34" creationId="{57FCAD35-776C-4417-99F5-8D1FC87F6084}"/>
          </ac:cxnSpMkLst>
        </pc:cxnChg>
        <pc:cxnChg chg="mod topLvl">
          <ac:chgData name="Henry" userId="02f5dd7c-8d1c-42af-a438-3c1752a452dc" providerId="ADAL" clId="{5942D110-875B-42FB-AC8A-CA70EB9445B0}" dt="2020-11-13T11:57:12.256" v="462" actId="1036"/>
          <ac:cxnSpMkLst>
            <pc:docMk/>
            <pc:sldMk cId="1791088145" sldId="346"/>
            <ac:cxnSpMk id="36" creationId="{A2AE1B19-AFB1-4B62-97E9-707593BFA14C}"/>
          </ac:cxnSpMkLst>
        </pc:cxnChg>
        <pc:cxnChg chg="del mod topLvl">
          <ac:chgData name="Henry" userId="02f5dd7c-8d1c-42af-a438-3c1752a452dc" providerId="ADAL" clId="{5942D110-875B-42FB-AC8A-CA70EB9445B0}" dt="2020-11-13T11:57:00.646" v="452" actId="478"/>
          <ac:cxnSpMkLst>
            <pc:docMk/>
            <pc:sldMk cId="1791088145" sldId="346"/>
            <ac:cxnSpMk id="37" creationId="{7646C237-0753-4503-A71F-A761EA9BF72E}"/>
          </ac:cxnSpMkLst>
        </pc:cxnChg>
        <pc:cxnChg chg="mod topLvl">
          <ac:chgData name="Henry" userId="02f5dd7c-8d1c-42af-a438-3c1752a452dc" providerId="ADAL" clId="{5942D110-875B-42FB-AC8A-CA70EB9445B0}" dt="2020-11-13T11:57:12.256" v="462" actId="1036"/>
          <ac:cxnSpMkLst>
            <pc:docMk/>
            <pc:sldMk cId="1791088145" sldId="346"/>
            <ac:cxnSpMk id="40" creationId="{464D612A-0DAE-42BE-9C50-F0C932819140}"/>
          </ac:cxnSpMkLst>
        </pc:cxnChg>
        <pc:cxnChg chg="del mod topLvl">
          <ac:chgData name="Henry" userId="02f5dd7c-8d1c-42af-a438-3c1752a452dc" providerId="ADAL" clId="{5942D110-875B-42FB-AC8A-CA70EB9445B0}" dt="2020-11-13T11:57:02.640" v="453" actId="478"/>
          <ac:cxnSpMkLst>
            <pc:docMk/>
            <pc:sldMk cId="1791088145" sldId="346"/>
            <ac:cxnSpMk id="41" creationId="{B44CB546-CB9F-4CAA-85C4-C3305EA1514C}"/>
          </ac:cxnSpMkLst>
        </pc:cxnChg>
        <pc:cxnChg chg="mod topLvl">
          <ac:chgData name="Henry" userId="02f5dd7c-8d1c-42af-a438-3c1752a452dc" providerId="ADAL" clId="{5942D110-875B-42FB-AC8A-CA70EB9445B0}" dt="2020-11-13T12:10:02.217" v="522" actId="1076"/>
          <ac:cxnSpMkLst>
            <pc:docMk/>
            <pc:sldMk cId="1791088145" sldId="346"/>
            <ac:cxnSpMk id="44" creationId="{4ADDC58B-0666-4390-A41F-6E6F41214B2C}"/>
          </ac:cxnSpMkLst>
        </pc:cxnChg>
        <pc:cxnChg chg="mod topLvl">
          <ac:chgData name="Henry" userId="02f5dd7c-8d1c-42af-a438-3c1752a452dc" providerId="ADAL" clId="{5942D110-875B-42FB-AC8A-CA70EB9445B0}" dt="2020-11-13T12:10:02.217" v="522" actId="1076"/>
          <ac:cxnSpMkLst>
            <pc:docMk/>
            <pc:sldMk cId="1791088145" sldId="346"/>
            <ac:cxnSpMk id="45" creationId="{D083746B-4B02-44A8-93E1-BB3529C5DB76}"/>
          </ac:cxnSpMkLst>
        </pc:cxnChg>
        <pc:cxnChg chg="mod topLvl">
          <ac:chgData name="Henry" userId="02f5dd7c-8d1c-42af-a438-3c1752a452dc" providerId="ADAL" clId="{5942D110-875B-42FB-AC8A-CA70EB9445B0}" dt="2020-11-13T12:10:02.217" v="522" actId="1076"/>
          <ac:cxnSpMkLst>
            <pc:docMk/>
            <pc:sldMk cId="1791088145" sldId="346"/>
            <ac:cxnSpMk id="47" creationId="{DC4C0D8B-A27C-49BA-B4A6-87B41C867967}"/>
          </ac:cxnSpMkLst>
        </pc:cxnChg>
        <pc:cxnChg chg="mod topLvl">
          <ac:chgData name="Henry" userId="02f5dd7c-8d1c-42af-a438-3c1752a452dc" providerId="ADAL" clId="{5942D110-875B-42FB-AC8A-CA70EB9445B0}" dt="2020-11-13T12:10:02.217" v="522" actId="1076"/>
          <ac:cxnSpMkLst>
            <pc:docMk/>
            <pc:sldMk cId="1791088145" sldId="346"/>
            <ac:cxnSpMk id="48" creationId="{C15E09D4-C562-49D8-B809-1697369DCC12}"/>
          </ac:cxnSpMkLst>
        </pc:cxnChg>
        <pc:cxnChg chg="add del mod">
          <ac:chgData name="Henry" userId="02f5dd7c-8d1c-42af-a438-3c1752a452dc" providerId="ADAL" clId="{5942D110-875B-42FB-AC8A-CA70EB9445B0}" dt="2020-11-13T11:57:52.771" v="475" actId="478"/>
          <ac:cxnSpMkLst>
            <pc:docMk/>
            <pc:sldMk cId="1791088145" sldId="346"/>
            <ac:cxnSpMk id="57" creationId="{C107CE53-3EF0-46C1-A475-F7444B20231A}"/>
          </ac:cxnSpMkLst>
        </pc:cxnChg>
        <pc:cxnChg chg="add del mod">
          <ac:chgData name="Henry" userId="02f5dd7c-8d1c-42af-a438-3c1752a452dc" providerId="ADAL" clId="{5942D110-875B-42FB-AC8A-CA70EB9445B0}" dt="2020-11-13T11:57:52.771" v="475" actId="478"/>
          <ac:cxnSpMkLst>
            <pc:docMk/>
            <pc:sldMk cId="1791088145" sldId="346"/>
            <ac:cxnSpMk id="58" creationId="{38A08943-129C-4E75-B684-7B0F88BC480E}"/>
          </ac:cxnSpMkLst>
        </pc:cxnChg>
        <pc:cxnChg chg="add del mod">
          <ac:chgData name="Henry" userId="02f5dd7c-8d1c-42af-a438-3c1752a452dc" providerId="ADAL" clId="{5942D110-875B-42FB-AC8A-CA70EB9445B0}" dt="2020-11-13T11:57:52.771" v="475" actId="478"/>
          <ac:cxnSpMkLst>
            <pc:docMk/>
            <pc:sldMk cId="1791088145" sldId="346"/>
            <ac:cxnSpMk id="59" creationId="{B9B38B1A-01E9-4857-8B66-34FB7306DB74}"/>
          </ac:cxnSpMkLst>
        </pc:cxnChg>
        <pc:cxnChg chg="add del mod">
          <ac:chgData name="Henry" userId="02f5dd7c-8d1c-42af-a438-3c1752a452dc" providerId="ADAL" clId="{5942D110-875B-42FB-AC8A-CA70EB9445B0}" dt="2020-11-13T11:57:52.771" v="475" actId="478"/>
          <ac:cxnSpMkLst>
            <pc:docMk/>
            <pc:sldMk cId="1791088145" sldId="346"/>
            <ac:cxnSpMk id="60" creationId="{3B2D4484-5B19-4CD9-98E4-80D7074D49FA}"/>
          </ac:cxnSpMkLst>
        </pc:cxnChg>
        <pc:cxnChg chg="add mod">
          <ac:chgData name="Henry" userId="02f5dd7c-8d1c-42af-a438-3c1752a452dc" providerId="ADAL" clId="{5942D110-875B-42FB-AC8A-CA70EB9445B0}" dt="2020-11-13T12:06:52.715" v="483" actId="1076"/>
          <ac:cxnSpMkLst>
            <pc:docMk/>
            <pc:sldMk cId="1791088145" sldId="346"/>
            <ac:cxnSpMk id="63" creationId="{30D5CCF6-42DF-4ACC-8669-362E2D84A73F}"/>
          </ac:cxnSpMkLst>
        </pc:cxnChg>
        <pc:cxnChg chg="add mod">
          <ac:chgData name="Henry" userId="02f5dd7c-8d1c-42af-a438-3c1752a452dc" providerId="ADAL" clId="{5942D110-875B-42FB-AC8A-CA70EB9445B0}" dt="2020-11-13T12:06:52.715" v="483" actId="1076"/>
          <ac:cxnSpMkLst>
            <pc:docMk/>
            <pc:sldMk cId="1791088145" sldId="346"/>
            <ac:cxnSpMk id="64" creationId="{2E11044F-E9A8-4F8A-AEA7-B5DA101F46F5}"/>
          </ac:cxnSpMkLst>
        </pc:cxnChg>
        <pc:cxnChg chg="add mod">
          <ac:chgData name="Henry" userId="02f5dd7c-8d1c-42af-a438-3c1752a452dc" providerId="ADAL" clId="{5942D110-875B-42FB-AC8A-CA70EB9445B0}" dt="2020-11-13T12:06:52.715" v="483" actId="1076"/>
          <ac:cxnSpMkLst>
            <pc:docMk/>
            <pc:sldMk cId="1791088145" sldId="346"/>
            <ac:cxnSpMk id="65" creationId="{BD3E8F0D-4CF7-4907-9585-D396C2DF657B}"/>
          </ac:cxnSpMkLst>
        </pc:cxnChg>
        <pc:cxnChg chg="add mod">
          <ac:chgData name="Henry" userId="02f5dd7c-8d1c-42af-a438-3c1752a452dc" providerId="ADAL" clId="{5942D110-875B-42FB-AC8A-CA70EB9445B0}" dt="2020-11-13T12:06:52.715" v="483" actId="1076"/>
          <ac:cxnSpMkLst>
            <pc:docMk/>
            <pc:sldMk cId="1791088145" sldId="346"/>
            <ac:cxnSpMk id="66" creationId="{9ABCA186-7894-4B3C-AC9C-FD48790786D1}"/>
          </ac:cxnSpMkLst>
        </pc:cxnChg>
        <pc:cxnChg chg="add mod">
          <ac:chgData name="Henry" userId="02f5dd7c-8d1c-42af-a438-3c1752a452dc" providerId="ADAL" clId="{5942D110-875B-42FB-AC8A-CA70EB9445B0}" dt="2020-11-13T12:10:43.039" v="527" actId="14100"/>
          <ac:cxnSpMkLst>
            <pc:docMk/>
            <pc:sldMk cId="1791088145" sldId="346"/>
            <ac:cxnSpMk id="71" creationId="{6BAA0541-C9C7-44FC-B849-079345B0DBED}"/>
          </ac:cxnSpMkLst>
        </pc:cxnChg>
        <pc:cxnChg chg="add mod">
          <ac:chgData name="Henry" userId="02f5dd7c-8d1c-42af-a438-3c1752a452dc" providerId="ADAL" clId="{5942D110-875B-42FB-AC8A-CA70EB9445B0}" dt="2020-11-13T12:10:40.128" v="526" actId="14100"/>
          <ac:cxnSpMkLst>
            <pc:docMk/>
            <pc:sldMk cId="1791088145" sldId="346"/>
            <ac:cxnSpMk id="76" creationId="{C61DDE5A-02BF-4034-89D7-FBC5BDA384A2}"/>
          </ac:cxnSpMkLst>
        </pc:cxnChg>
        <pc:cxnChg chg="add mod">
          <ac:chgData name="Henry" userId="02f5dd7c-8d1c-42af-a438-3c1752a452dc" providerId="ADAL" clId="{5942D110-875B-42FB-AC8A-CA70EB9445B0}" dt="2020-11-13T12:08:23.305" v="507" actId="14100"/>
          <ac:cxnSpMkLst>
            <pc:docMk/>
            <pc:sldMk cId="1791088145" sldId="346"/>
            <ac:cxnSpMk id="79" creationId="{CF62CFB2-312F-4A15-92AD-DDCA19D36E48}"/>
          </ac:cxnSpMkLst>
        </pc:cxnChg>
        <pc:cxnChg chg="add mod">
          <ac:chgData name="Henry" userId="02f5dd7c-8d1c-42af-a438-3c1752a452dc" providerId="ADAL" clId="{5942D110-875B-42FB-AC8A-CA70EB9445B0}" dt="2020-11-13T12:08:20.842" v="506" actId="14100"/>
          <ac:cxnSpMkLst>
            <pc:docMk/>
            <pc:sldMk cId="1791088145" sldId="346"/>
            <ac:cxnSpMk id="82" creationId="{E29DBD22-DCA7-4F73-B37C-17FC2258B2B7}"/>
          </ac:cxnSpMkLst>
        </pc:cxnChg>
        <pc:cxnChg chg="add mod">
          <ac:chgData name="Henry" userId="02f5dd7c-8d1c-42af-a438-3c1752a452dc" providerId="ADAL" clId="{5942D110-875B-42FB-AC8A-CA70EB9445B0}" dt="2020-11-13T12:08:35.553" v="510" actId="14100"/>
          <ac:cxnSpMkLst>
            <pc:docMk/>
            <pc:sldMk cId="1791088145" sldId="346"/>
            <ac:cxnSpMk id="86" creationId="{2BA180F2-4B1C-4CDC-8DB7-E50FD81EEE66}"/>
          </ac:cxnSpMkLst>
        </pc:cxnChg>
        <pc:cxnChg chg="add mod">
          <ac:chgData name="Henry" userId="02f5dd7c-8d1c-42af-a438-3c1752a452dc" providerId="ADAL" clId="{5942D110-875B-42FB-AC8A-CA70EB9445B0}" dt="2020-11-13T12:10:32.376" v="525" actId="14100"/>
          <ac:cxnSpMkLst>
            <pc:docMk/>
            <pc:sldMk cId="1791088145" sldId="346"/>
            <ac:cxnSpMk id="88" creationId="{168941C5-5FD3-47FA-B30D-DA7C89263B70}"/>
          </ac:cxnSpMkLst>
        </pc:cxnChg>
        <pc:cxnChg chg="add mod">
          <ac:chgData name="Henry" userId="02f5dd7c-8d1c-42af-a438-3c1752a452dc" providerId="ADAL" clId="{5942D110-875B-42FB-AC8A-CA70EB9445B0}" dt="2020-11-13T12:08:54.329" v="516" actId="14100"/>
          <ac:cxnSpMkLst>
            <pc:docMk/>
            <pc:sldMk cId="1791088145" sldId="346"/>
            <ac:cxnSpMk id="91" creationId="{D47F9A7C-4341-4C7F-B338-98678F75D746}"/>
          </ac:cxnSpMkLst>
        </pc:cxnChg>
        <pc:cxnChg chg="add mod">
          <ac:chgData name="Henry" userId="02f5dd7c-8d1c-42af-a438-3c1752a452dc" providerId="ADAL" clId="{5942D110-875B-42FB-AC8A-CA70EB9445B0}" dt="2020-11-13T12:09:02.248" v="519" actId="14100"/>
          <ac:cxnSpMkLst>
            <pc:docMk/>
            <pc:sldMk cId="1791088145" sldId="346"/>
            <ac:cxnSpMk id="94" creationId="{CC38FCFF-54D5-42D7-A11D-DE898E761A78}"/>
          </ac:cxnSpMkLst>
        </pc:cxnChg>
      </pc:sldChg>
      <pc:sldChg chg="addSp delSp modSp add mod modNotesTx">
        <pc:chgData name="Henry" userId="02f5dd7c-8d1c-42af-a438-3c1752a452dc" providerId="ADAL" clId="{5942D110-875B-42FB-AC8A-CA70EB9445B0}" dt="2020-11-20T13:59:21.065" v="20233" actId="20577"/>
        <pc:sldMkLst>
          <pc:docMk/>
          <pc:sldMk cId="3749796436" sldId="347"/>
        </pc:sldMkLst>
        <pc:spChg chg="add mod">
          <ac:chgData name="Henry" userId="02f5dd7c-8d1c-42af-a438-3c1752a452dc" providerId="ADAL" clId="{5942D110-875B-42FB-AC8A-CA70EB9445B0}" dt="2020-11-19T14:08:34.228" v="7593" actId="20577"/>
          <ac:spMkLst>
            <pc:docMk/>
            <pc:sldMk cId="3749796436" sldId="347"/>
            <ac:spMk id="4" creationId="{FE4F9E39-9C0C-4621-999B-BB2DFF2B9B15}"/>
          </ac:spMkLst>
        </pc:spChg>
        <pc:spChg chg="mod">
          <ac:chgData name="Henry" userId="02f5dd7c-8d1c-42af-a438-3c1752a452dc" providerId="ADAL" clId="{5942D110-875B-42FB-AC8A-CA70EB9445B0}" dt="2020-11-19T14:47:30.729" v="8096" actId="20577"/>
          <ac:spMkLst>
            <pc:docMk/>
            <pc:sldMk cId="3749796436" sldId="347"/>
            <ac:spMk id="9" creationId="{05402393-FFAD-4674-B173-20ACF59F4BDF}"/>
          </ac:spMkLst>
        </pc:spChg>
        <pc:spChg chg="del mod">
          <ac:chgData name="Henry" userId="02f5dd7c-8d1c-42af-a438-3c1752a452dc" providerId="ADAL" clId="{5942D110-875B-42FB-AC8A-CA70EB9445B0}" dt="2020-11-18T14:59:46.907" v="3864" actId="21"/>
          <ac:spMkLst>
            <pc:docMk/>
            <pc:sldMk cId="3749796436" sldId="347"/>
            <ac:spMk id="10" creationId="{7F1661AC-E5DD-1740-B58A-E9F01EEDEF60}"/>
          </ac:spMkLst>
        </pc:spChg>
        <pc:spChg chg="mod">
          <ac:chgData name="Henry" userId="02f5dd7c-8d1c-42af-a438-3c1752a452dc" providerId="ADAL" clId="{5942D110-875B-42FB-AC8A-CA70EB9445B0}" dt="2020-11-18T14:33:09.662" v="3815" actId="1076"/>
          <ac:spMkLst>
            <pc:docMk/>
            <pc:sldMk cId="3749796436" sldId="347"/>
            <ac:spMk id="12" creationId="{AF954B68-31B2-4021-8D71-168A328C44B8}"/>
          </ac:spMkLst>
        </pc:spChg>
        <pc:spChg chg="mod">
          <ac:chgData name="Henry" userId="02f5dd7c-8d1c-42af-a438-3c1752a452dc" providerId="ADAL" clId="{5942D110-875B-42FB-AC8A-CA70EB9445B0}" dt="2020-11-18T14:33:09.662" v="3815" actId="1076"/>
          <ac:spMkLst>
            <pc:docMk/>
            <pc:sldMk cId="3749796436" sldId="347"/>
            <ac:spMk id="13" creationId="{40B6D454-60CB-427D-A839-5B3FE293EE28}"/>
          </ac:spMkLst>
        </pc:spChg>
        <pc:spChg chg="mod">
          <ac:chgData name="Henry" userId="02f5dd7c-8d1c-42af-a438-3c1752a452dc" providerId="ADAL" clId="{5942D110-875B-42FB-AC8A-CA70EB9445B0}" dt="2020-11-18T17:40:43.085" v="4884" actId="20577"/>
          <ac:spMkLst>
            <pc:docMk/>
            <pc:sldMk cId="3749796436" sldId="347"/>
            <ac:spMk id="15" creationId="{AC1E3A02-AF99-3E47-A940-46866CE179AA}"/>
          </ac:spMkLst>
        </pc:spChg>
        <pc:spChg chg="mod">
          <ac:chgData name="Henry" userId="02f5dd7c-8d1c-42af-a438-3c1752a452dc" providerId="ADAL" clId="{5942D110-875B-42FB-AC8A-CA70EB9445B0}" dt="2020-11-18T14:33:09.662" v="3815" actId="1076"/>
          <ac:spMkLst>
            <pc:docMk/>
            <pc:sldMk cId="3749796436" sldId="347"/>
            <ac:spMk id="23" creationId="{D11993F7-2EFD-4136-BA6D-3ADFA1AA5093}"/>
          </ac:spMkLst>
        </pc:spChg>
        <pc:spChg chg="mod">
          <ac:chgData name="Henry" userId="02f5dd7c-8d1c-42af-a438-3c1752a452dc" providerId="ADAL" clId="{5942D110-875B-42FB-AC8A-CA70EB9445B0}" dt="2020-11-18T14:33:09.662" v="3815" actId="1076"/>
          <ac:spMkLst>
            <pc:docMk/>
            <pc:sldMk cId="3749796436" sldId="347"/>
            <ac:spMk id="38" creationId="{EC0C8FBA-89A9-437E-97AA-EFCF801FF675}"/>
          </ac:spMkLst>
        </pc:spChg>
        <pc:spChg chg="mod">
          <ac:chgData name="Henry" userId="02f5dd7c-8d1c-42af-a438-3c1752a452dc" providerId="ADAL" clId="{5942D110-875B-42FB-AC8A-CA70EB9445B0}" dt="2020-11-18T14:33:09.662" v="3815" actId="1076"/>
          <ac:spMkLst>
            <pc:docMk/>
            <pc:sldMk cId="3749796436" sldId="347"/>
            <ac:spMk id="42" creationId="{474DF621-E192-4DBD-A76C-D7B15B9901FD}"/>
          </ac:spMkLst>
        </pc:spChg>
        <pc:spChg chg="mod">
          <ac:chgData name="Henry" userId="02f5dd7c-8d1c-42af-a438-3c1752a452dc" providerId="ADAL" clId="{5942D110-875B-42FB-AC8A-CA70EB9445B0}" dt="2020-11-18T14:33:09.662" v="3815" actId="1076"/>
          <ac:spMkLst>
            <pc:docMk/>
            <pc:sldMk cId="3749796436" sldId="347"/>
            <ac:spMk id="62" creationId="{DAB2AE22-890B-4885-8B5F-9E4A56C1217B}"/>
          </ac:spMkLst>
        </pc:spChg>
        <pc:spChg chg="mod">
          <ac:chgData name="Henry" userId="02f5dd7c-8d1c-42af-a438-3c1752a452dc" providerId="ADAL" clId="{5942D110-875B-42FB-AC8A-CA70EB9445B0}" dt="2020-11-18T14:33:09.662" v="3815" actId="1076"/>
          <ac:spMkLst>
            <pc:docMk/>
            <pc:sldMk cId="3749796436" sldId="347"/>
            <ac:spMk id="70" creationId="{F6AD4B57-18F0-472F-86DD-FAB0C8FBDCB4}"/>
          </ac:spMkLst>
        </pc:spChg>
        <pc:spChg chg="mod">
          <ac:chgData name="Henry" userId="02f5dd7c-8d1c-42af-a438-3c1752a452dc" providerId="ADAL" clId="{5942D110-875B-42FB-AC8A-CA70EB9445B0}" dt="2020-11-18T14:33:09.662" v="3815" actId="1076"/>
          <ac:spMkLst>
            <pc:docMk/>
            <pc:sldMk cId="3749796436" sldId="347"/>
            <ac:spMk id="102" creationId="{3DCA5A42-DDF7-4F21-A519-3DEE08FA4200}"/>
          </ac:spMkLst>
        </pc:spChg>
        <pc:picChg chg="mod">
          <ac:chgData name="Henry" userId="02f5dd7c-8d1c-42af-a438-3c1752a452dc" providerId="ADAL" clId="{5942D110-875B-42FB-AC8A-CA70EB9445B0}" dt="2020-11-18T14:33:09.662" v="3815" actId="1076"/>
          <ac:picMkLst>
            <pc:docMk/>
            <pc:sldMk cId="3749796436" sldId="347"/>
            <ac:picMk id="6" creationId="{5987BCC1-65AF-404C-8FAA-C158B4B558CA}"/>
          </ac:picMkLst>
        </pc:picChg>
        <pc:cxnChg chg="mod">
          <ac:chgData name="Henry" userId="02f5dd7c-8d1c-42af-a438-3c1752a452dc" providerId="ADAL" clId="{5942D110-875B-42FB-AC8A-CA70EB9445B0}" dt="2020-11-18T14:33:09.662" v="3815" actId="1076"/>
          <ac:cxnSpMkLst>
            <pc:docMk/>
            <pc:sldMk cId="3749796436" sldId="347"/>
            <ac:cxnSpMk id="30" creationId="{CDE8BCB9-A1A9-4586-ACF7-05BD57FB1122}"/>
          </ac:cxnSpMkLst>
        </pc:cxnChg>
        <pc:cxnChg chg="mod">
          <ac:chgData name="Henry" userId="02f5dd7c-8d1c-42af-a438-3c1752a452dc" providerId="ADAL" clId="{5942D110-875B-42FB-AC8A-CA70EB9445B0}" dt="2020-11-18T14:33:09.662" v="3815" actId="1076"/>
          <ac:cxnSpMkLst>
            <pc:docMk/>
            <pc:sldMk cId="3749796436" sldId="347"/>
            <ac:cxnSpMk id="33" creationId="{0E9886A2-87B9-4AC1-86AB-689C3A92D86C}"/>
          </ac:cxnSpMkLst>
        </pc:cxnChg>
        <pc:cxnChg chg="mod">
          <ac:chgData name="Henry" userId="02f5dd7c-8d1c-42af-a438-3c1752a452dc" providerId="ADAL" clId="{5942D110-875B-42FB-AC8A-CA70EB9445B0}" dt="2020-11-18T14:33:09.662" v="3815" actId="1076"/>
          <ac:cxnSpMkLst>
            <pc:docMk/>
            <pc:sldMk cId="3749796436" sldId="347"/>
            <ac:cxnSpMk id="36" creationId="{A2AE1B19-AFB1-4B62-97E9-707593BFA14C}"/>
          </ac:cxnSpMkLst>
        </pc:cxnChg>
        <pc:cxnChg chg="mod">
          <ac:chgData name="Henry" userId="02f5dd7c-8d1c-42af-a438-3c1752a452dc" providerId="ADAL" clId="{5942D110-875B-42FB-AC8A-CA70EB9445B0}" dt="2020-11-18T14:33:09.662" v="3815" actId="1076"/>
          <ac:cxnSpMkLst>
            <pc:docMk/>
            <pc:sldMk cId="3749796436" sldId="347"/>
            <ac:cxnSpMk id="40" creationId="{464D612A-0DAE-42BE-9C50-F0C932819140}"/>
          </ac:cxnSpMkLst>
        </pc:cxnChg>
        <pc:cxnChg chg="mod">
          <ac:chgData name="Henry" userId="02f5dd7c-8d1c-42af-a438-3c1752a452dc" providerId="ADAL" clId="{5942D110-875B-42FB-AC8A-CA70EB9445B0}" dt="2020-11-18T14:33:09.662" v="3815" actId="1076"/>
          <ac:cxnSpMkLst>
            <pc:docMk/>
            <pc:sldMk cId="3749796436" sldId="347"/>
            <ac:cxnSpMk id="44" creationId="{4ADDC58B-0666-4390-A41F-6E6F41214B2C}"/>
          </ac:cxnSpMkLst>
        </pc:cxnChg>
        <pc:cxnChg chg="mod">
          <ac:chgData name="Henry" userId="02f5dd7c-8d1c-42af-a438-3c1752a452dc" providerId="ADAL" clId="{5942D110-875B-42FB-AC8A-CA70EB9445B0}" dt="2020-11-18T14:33:09.662" v="3815" actId="1076"/>
          <ac:cxnSpMkLst>
            <pc:docMk/>
            <pc:sldMk cId="3749796436" sldId="347"/>
            <ac:cxnSpMk id="45" creationId="{D083746B-4B02-44A8-93E1-BB3529C5DB76}"/>
          </ac:cxnSpMkLst>
        </pc:cxnChg>
        <pc:cxnChg chg="mod">
          <ac:chgData name="Henry" userId="02f5dd7c-8d1c-42af-a438-3c1752a452dc" providerId="ADAL" clId="{5942D110-875B-42FB-AC8A-CA70EB9445B0}" dt="2020-11-18T14:33:09.662" v="3815" actId="1076"/>
          <ac:cxnSpMkLst>
            <pc:docMk/>
            <pc:sldMk cId="3749796436" sldId="347"/>
            <ac:cxnSpMk id="47" creationId="{DC4C0D8B-A27C-49BA-B4A6-87B41C867967}"/>
          </ac:cxnSpMkLst>
        </pc:cxnChg>
        <pc:cxnChg chg="mod">
          <ac:chgData name="Henry" userId="02f5dd7c-8d1c-42af-a438-3c1752a452dc" providerId="ADAL" clId="{5942D110-875B-42FB-AC8A-CA70EB9445B0}" dt="2020-11-18T14:33:09.662" v="3815" actId="1076"/>
          <ac:cxnSpMkLst>
            <pc:docMk/>
            <pc:sldMk cId="3749796436" sldId="347"/>
            <ac:cxnSpMk id="48" creationId="{C15E09D4-C562-49D8-B809-1697369DCC12}"/>
          </ac:cxnSpMkLst>
        </pc:cxnChg>
        <pc:cxnChg chg="mod">
          <ac:chgData name="Henry" userId="02f5dd7c-8d1c-42af-a438-3c1752a452dc" providerId="ADAL" clId="{5942D110-875B-42FB-AC8A-CA70EB9445B0}" dt="2020-11-18T14:33:09.662" v="3815" actId="1076"/>
          <ac:cxnSpMkLst>
            <pc:docMk/>
            <pc:sldMk cId="3749796436" sldId="347"/>
            <ac:cxnSpMk id="63" creationId="{30D5CCF6-42DF-4ACC-8669-362E2D84A73F}"/>
          </ac:cxnSpMkLst>
        </pc:cxnChg>
        <pc:cxnChg chg="mod">
          <ac:chgData name="Henry" userId="02f5dd7c-8d1c-42af-a438-3c1752a452dc" providerId="ADAL" clId="{5942D110-875B-42FB-AC8A-CA70EB9445B0}" dt="2020-11-18T14:33:09.662" v="3815" actId="1076"/>
          <ac:cxnSpMkLst>
            <pc:docMk/>
            <pc:sldMk cId="3749796436" sldId="347"/>
            <ac:cxnSpMk id="64" creationId="{2E11044F-E9A8-4F8A-AEA7-B5DA101F46F5}"/>
          </ac:cxnSpMkLst>
        </pc:cxnChg>
        <pc:cxnChg chg="mod">
          <ac:chgData name="Henry" userId="02f5dd7c-8d1c-42af-a438-3c1752a452dc" providerId="ADAL" clId="{5942D110-875B-42FB-AC8A-CA70EB9445B0}" dt="2020-11-18T14:33:09.662" v="3815" actId="1076"/>
          <ac:cxnSpMkLst>
            <pc:docMk/>
            <pc:sldMk cId="3749796436" sldId="347"/>
            <ac:cxnSpMk id="65" creationId="{BD3E8F0D-4CF7-4907-9585-D396C2DF657B}"/>
          </ac:cxnSpMkLst>
        </pc:cxnChg>
        <pc:cxnChg chg="mod">
          <ac:chgData name="Henry" userId="02f5dd7c-8d1c-42af-a438-3c1752a452dc" providerId="ADAL" clId="{5942D110-875B-42FB-AC8A-CA70EB9445B0}" dt="2020-11-18T14:33:09.662" v="3815" actId="1076"/>
          <ac:cxnSpMkLst>
            <pc:docMk/>
            <pc:sldMk cId="3749796436" sldId="347"/>
            <ac:cxnSpMk id="66" creationId="{9ABCA186-7894-4B3C-AC9C-FD48790786D1}"/>
          </ac:cxnSpMkLst>
        </pc:cxnChg>
        <pc:cxnChg chg="mod">
          <ac:chgData name="Henry" userId="02f5dd7c-8d1c-42af-a438-3c1752a452dc" providerId="ADAL" clId="{5942D110-875B-42FB-AC8A-CA70EB9445B0}" dt="2020-11-18T14:33:09.662" v="3815" actId="1076"/>
          <ac:cxnSpMkLst>
            <pc:docMk/>
            <pc:sldMk cId="3749796436" sldId="347"/>
            <ac:cxnSpMk id="71" creationId="{6BAA0541-C9C7-44FC-B849-079345B0DBED}"/>
          </ac:cxnSpMkLst>
        </pc:cxnChg>
        <pc:cxnChg chg="mod">
          <ac:chgData name="Henry" userId="02f5dd7c-8d1c-42af-a438-3c1752a452dc" providerId="ADAL" clId="{5942D110-875B-42FB-AC8A-CA70EB9445B0}" dt="2020-11-18T14:33:09.662" v="3815" actId="1076"/>
          <ac:cxnSpMkLst>
            <pc:docMk/>
            <pc:sldMk cId="3749796436" sldId="347"/>
            <ac:cxnSpMk id="76" creationId="{C61DDE5A-02BF-4034-89D7-FBC5BDA384A2}"/>
          </ac:cxnSpMkLst>
        </pc:cxnChg>
        <pc:cxnChg chg="mod">
          <ac:chgData name="Henry" userId="02f5dd7c-8d1c-42af-a438-3c1752a452dc" providerId="ADAL" clId="{5942D110-875B-42FB-AC8A-CA70EB9445B0}" dt="2020-11-18T14:33:09.662" v="3815" actId="1076"/>
          <ac:cxnSpMkLst>
            <pc:docMk/>
            <pc:sldMk cId="3749796436" sldId="347"/>
            <ac:cxnSpMk id="79" creationId="{CF62CFB2-312F-4A15-92AD-DDCA19D36E48}"/>
          </ac:cxnSpMkLst>
        </pc:cxnChg>
        <pc:cxnChg chg="mod">
          <ac:chgData name="Henry" userId="02f5dd7c-8d1c-42af-a438-3c1752a452dc" providerId="ADAL" clId="{5942D110-875B-42FB-AC8A-CA70EB9445B0}" dt="2020-11-18T14:33:09.662" v="3815" actId="1076"/>
          <ac:cxnSpMkLst>
            <pc:docMk/>
            <pc:sldMk cId="3749796436" sldId="347"/>
            <ac:cxnSpMk id="82" creationId="{E29DBD22-DCA7-4F73-B37C-17FC2258B2B7}"/>
          </ac:cxnSpMkLst>
        </pc:cxnChg>
        <pc:cxnChg chg="mod">
          <ac:chgData name="Henry" userId="02f5dd7c-8d1c-42af-a438-3c1752a452dc" providerId="ADAL" clId="{5942D110-875B-42FB-AC8A-CA70EB9445B0}" dt="2020-11-18T14:33:09.662" v="3815" actId="1076"/>
          <ac:cxnSpMkLst>
            <pc:docMk/>
            <pc:sldMk cId="3749796436" sldId="347"/>
            <ac:cxnSpMk id="86" creationId="{2BA180F2-4B1C-4CDC-8DB7-E50FD81EEE66}"/>
          </ac:cxnSpMkLst>
        </pc:cxnChg>
        <pc:cxnChg chg="mod">
          <ac:chgData name="Henry" userId="02f5dd7c-8d1c-42af-a438-3c1752a452dc" providerId="ADAL" clId="{5942D110-875B-42FB-AC8A-CA70EB9445B0}" dt="2020-11-18T14:33:09.662" v="3815" actId="1076"/>
          <ac:cxnSpMkLst>
            <pc:docMk/>
            <pc:sldMk cId="3749796436" sldId="347"/>
            <ac:cxnSpMk id="88" creationId="{168941C5-5FD3-47FA-B30D-DA7C89263B70}"/>
          </ac:cxnSpMkLst>
        </pc:cxnChg>
        <pc:cxnChg chg="mod">
          <ac:chgData name="Henry" userId="02f5dd7c-8d1c-42af-a438-3c1752a452dc" providerId="ADAL" clId="{5942D110-875B-42FB-AC8A-CA70EB9445B0}" dt="2020-11-18T14:33:09.662" v="3815" actId="1076"/>
          <ac:cxnSpMkLst>
            <pc:docMk/>
            <pc:sldMk cId="3749796436" sldId="347"/>
            <ac:cxnSpMk id="91" creationId="{D47F9A7C-4341-4C7F-B338-98678F75D746}"/>
          </ac:cxnSpMkLst>
        </pc:cxnChg>
        <pc:cxnChg chg="mod">
          <ac:chgData name="Henry" userId="02f5dd7c-8d1c-42af-a438-3c1752a452dc" providerId="ADAL" clId="{5942D110-875B-42FB-AC8A-CA70EB9445B0}" dt="2020-11-18T14:33:09.662" v="3815" actId="1076"/>
          <ac:cxnSpMkLst>
            <pc:docMk/>
            <pc:sldMk cId="3749796436" sldId="347"/>
            <ac:cxnSpMk id="94" creationId="{CC38FCFF-54D5-42D7-A11D-DE898E761A78}"/>
          </ac:cxnSpMkLst>
        </pc:cxnChg>
      </pc:sldChg>
      <pc:sldChg chg="addSp delSp modSp add mod ord modNotesTx">
        <pc:chgData name="Henry" userId="02f5dd7c-8d1c-42af-a438-3c1752a452dc" providerId="ADAL" clId="{5942D110-875B-42FB-AC8A-CA70EB9445B0}" dt="2020-11-19T15:26:52.045" v="9774"/>
        <pc:sldMkLst>
          <pc:docMk/>
          <pc:sldMk cId="3015356068" sldId="348"/>
        </pc:sldMkLst>
        <pc:spChg chg="add del mod">
          <ac:chgData name="Henry" userId="02f5dd7c-8d1c-42af-a438-3c1752a452dc" providerId="ADAL" clId="{5942D110-875B-42FB-AC8A-CA70EB9445B0}" dt="2020-11-19T15:26:51.680" v="9773" actId="478"/>
          <ac:spMkLst>
            <pc:docMk/>
            <pc:sldMk cId="3015356068" sldId="348"/>
            <ac:spMk id="6" creationId="{124FE92C-43BA-4B65-8BFF-DA78680256FD}"/>
          </ac:spMkLst>
        </pc:spChg>
        <pc:spChg chg="mod">
          <ac:chgData name="Henry" userId="02f5dd7c-8d1c-42af-a438-3c1752a452dc" providerId="ADAL" clId="{5942D110-875B-42FB-AC8A-CA70EB9445B0}" dt="2020-11-18T15:44:25.255" v="4089" actId="1076"/>
          <ac:spMkLst>
            <pc:docMk/>
            <pc:sldMk cId="3015356068" sldId="348"/>
            <ac:spMk id="9" creationId="{05402393-FFAD-4674-B173-20ACF59F4BDF}"/>
          </ac:spMkLst>
        </pc:spChg>
        <pc:spChg chg="add del">
          <ac:chgData name="Henry" userId="02f5dd7c-8d1c-42af-a438-3c1752a452dc" providerId="ADAL" clId="{5942D110-875B-42FB-AC8A-CA70EB9445B0}" dt="2020-11-18T14:59:54.750" v="3866" actId="478"/>
          <ac:spMkLst>
            <pc:docMk/>
            <pc:sldMk cId="3015356068" sldId="348"/>
            <ac:spMk id="10" creationId="{69A18DF0-2289-4336-9CA9-D4345DD39B2B}"/>
          </ac:spMkLst>
        </pc:spChg>
        <pc:spChg chg="del">
          <ac:chgData name="Henry" userId="02f5dd7c-8d1c-42af-a438-3c1752a452dc" providerId="ADAL" clId="{5942D110-875B-42FB-AC8A-CA70EB9445B0}" dt="2020-11-13T12:37:04.126" v="941" actId="478"/>
          <ac:spMkLst>
            <pc:docMk/>
            <pc:sldMk cId="3015356068" sldId="348"/>
            <ac:spMk id="10" creationId="{7F1661AC-E5DD-1740-B58A-E9F01EEDEF60}"/>
          </ac:spMkLst>
        </pc:spChg>
        <pc:spChg chg="del">
          <ac:chgData name="Henry" userId="02f5dd7c-8d1c-42af-a438-3c1752a452dc" providerId="ADAL" clId="{5942D110-875B-42FB-AC8A-CA70EB9445B0}" dt="2020-11-13T12:34:22.646" v="779" actId="478"/>
          <ac:spMkLst>
            <pc:docMk/>
            <pc:sldMk cId="3015356068" sldId="348"/>
            <ac:spMk id="12" creationId="{AF954B68-31B2-4021-8D71-168A328C44B8}"/>
          </ac:spMkLst>
        </pc:spChg>
        <pc:spChg chg="del">
          <ac:chgData name="Henry" userId="02f5dd7c-8d1c-42af-a438-3c1752a452dc" providerId="ADAL" clId="{5942D110-875B-42FB-AC8A-CA70EB9445B0}" dt="2020-11-13T12:34:22.646" v="779" actId="478"/>
          <ac:spMkLst>
            <pc:docMk/>
            <pc:sldMk cId="3015356068" sldId="348"/>
            <ac:spMk id="13" creationId="{40B6D454-60CB-427D-A839-5B3FE293EE28}"/>
          </ac:spMkLst>
        </pc:spChg>
        <pc:spChg chg="mod">
          <ac:chgData name="Henry" userId="02f5dd7c-8d1c-42af-a438-3c1752a452dc" providerId="ADAL" clId="{5942D110-875B-42FB-AC8A-CA70EB9445B0}" dt="2020-11-18T17:40:51.379" v="4886" actId="20577"/>
          <ac:spMkLst>
            <pc:docMk/>
            <pc:sldMk cId="3015356068" sldId="348"/>
            <ac:spMk id="15" creationId="{AC1E3A02-AF99-3E47-A940-46866CE179AA}"/>
          </ac:spMkLst>
        </pc:spChg>
        <pc:spChg chg="add mod">
          <ac:chgData name="Henry" userId="02f5dd7c-8d1c-42af-a438-3c1752a452dc" providerId="ADAL" clId="{5942D110-875B-42FB-AC8A-CA70EB9445B0}" dt="2020-11-18T15:44:50.044" v="4094" actId="1076"/>
          <ac:spMkLst>
            <pc:docMk/>
            <pc:sldMk cId="3015356068" sldId="348"/>
            <ac:spMk id="20" creationId="{BD355BA0-9909-422B-AC4A-5BF9F7C217DF}"/>
          </ac:spMkLst>
        </pc:spChg>
        <pc:spChg chg="add mod">
          <ac:chgData name="Henry" userId="02f5dd7c-8d1c-42af-a438-3c1752a452dc" providerId="ADAL" clId="{5942D110-875B-42FB-AC8A-CA70EB9445B0}" dt="2020-11-18T15:44:58.384" v="4096" actId="1076"/>
          <ac:spMkLst>
            <pc:docMk/>
            <pc:sldMk cId="3015356068" sldId="348"/>
            <ac:spMk id="22" creationId="{0393666A-7B32-401C-8010-05E90CCEE3CF}"/>
          </ac:spMkLst>
        </pc:spChg>
        <pc:spChg chg="del">
          <ac:chgData name="Henry" userId="02f5dd7c-8d1c-42af-a438-3c1752a452dc" providerId="ADAL" clId="{5942D110-875B-42FB-AC8A-CA70EB9445B0}" dt="2020-11-13T12:34:22.646" v="779" actId="478"/>
          <ac:spMkLst>
            <pc:docMk/>
            <pc:sldMk cId="3015356068" sldId="348"/>
            <ac:spMk id="23" creationId="{D11993F7-2EFD-4136-BA6D-3ADFA1AA5093}"/>
          </ac:spMkLst>
        </pc:spChg>
        <pc:spChg chg="add mod">
          <ac:chgData name="Henry" userId="02f5dd7c-8d1c-42af-a438-3c1752a452dc" providerId="ADAL" clId="{5942D110-875B-42FB-AC8A-CA70EB9445B0}" dt="2020-11-18T15:46:15.094" v="4159" actId="1038"/>
          <ac:spMkLst>
            <pc:docMk/>
            <pc:sldMk cId="3015356068" sldId="348"/>
            <ac:spMk id="24" creationId="{FDD1FAB4-55EE-4005-BD0B-3D3A25C89D0C}"/>
          </ac:spMkLst>
        </pc:spChg>
        <pc:spChg chg="add mod">
          <ac:chgData name="Henry" userId="02f5dd7c-8d1c-42af-a438-3c1752a452dc" providerId="ADAL" clId="{5942D110-875B-42FB-AC8A-CA70EB9445B0}" dt="2020-11-18T15:46:44.783" v="4164" actId="1036"/>
          <ac:spMkLst>
            <pc:docMk/>
            <pc:sldMk cId="3015356068" sldId="348"/>
            <ac:spMk id="26" creationId="{1C728765-7C31-4E97-AE80-0A4D597426DB}"/>
          </ac:spMkLst>
        </pc:spChg>
        <pc:spChg chg="add mod">
          <ac:chgData name="Henry" userId="02f5dd7c-8d1c-42af-a438-3c1752a452dc" providerId="ADAL" clId="{5942D110-875B-42FB-AC8A-CA70EB9445B0}" dt="2020-11-19T15:26:52.045" v="9774"/>
          <ac:spMkLst>
            <pc:docMk/>
            <pc:sldMk cId="3015356068" sldId="348"/>
            <ac:spMk id="27" creationId="{6C767DD4-5BD7-4ECF-BFE3-3654BA263C18}"/>
          </ac:spMkLst>
        </pc:spChg>
        <pc:spChg chg="add mod">
          <ac:chgData name="Henry" userId="02f5dd7c-8d1c-42af-a438-3c1752a452dc" providerId="ADAL" clId="{5942D110-875B-42FB-AC8A-CA70EB9445B0}" dt="2020-11-18T15:46:15.094" v="4159" actId="1038"/>
          <ac:spMkLst>
            <pc:docMk/>
            <pc:sldMk cId="3015356068" sldId="348"/>
            <ac:spMk id="28" creationId="{617F519D-A0D4-4A4B-9344-EF04BEEBDADE}"/>
          </ac:spMkLst>
        </pc:spChg>
        <pc:spChg chg="add mod">
          <ac:chgData name="Henry" userId="02f5dd7c-8d1c-42af-a438-3c1752a452dc" providerId="ADAL" clId="{5942D110-875B-42FB-AC8A-CA70EB9445B0}" dt="2020-11-18T15:46:46.343" v="4165" actId="1036"/>
          <ac:spMkLst>
            <pc:docMk/>
            <pc:sldMk cId="3015356068" sldId="348"/>
            <ac:spMk id="30" creationId="{E7E5D264-A240-4194-AC09-3FA1C24A3524}"/>
          </ac:spMkLst>
        </pc:spChg>
        <pc:spChg chg="add mod">
          <ac:chgData name="Henry" userId="02f5dd7c-8d1c-42af-a438-3c1752a452dc" providerId="ADAL" clId="{5942D110-875B-42FB-AC8A-CA70EB9445B0}" dt="2020-11-18T15:46:09.494" v="4138" actId="1037"/>
          <ac:spMkLst>
            <pc:docMk/>
            <pc:sldMk cId="3015356068" sldId="348"/>
            <ac:spMk id="32" creationId="{74AE6746-4F8A-4299-B21C-D61EA5AFA02C}"/>
          </ac:spMkLst>
        </pc:spChg>
        <pc:spChg chg="add mod">
          <ac:chgData name="Henry" userId="02f5dd7c-8d1c-42af-a438-3c1752a452dc" providerId="ADAL" clId="{5942D110-875B-42FB-AC8A-CA70EB9445B0}" dt="2020-11-18T15:46:32.333" v="4161" actId="1036"/>
          <ac:spMkLst>
            <pc:docMk/>
            <pc:sldMk cId="3015356068" sldId="348"/>
            <ac:spMk id="34" creationId="{F9E2261D-92F6-4BE8-9DC5-79EB29A6B956}"/>
          </ac:spMkLst>
        </pc:spChg>
        <pc:spChg chg="add mod">
          <ac:chgData name="Henry" userId="02f5dd7c-8d1c-42af-a438-3c1752a452dc" providerId="ADAL" clId="{5942D110-875B-42FB-AC8A-CA70EB9445B0}" dt="2020-11-18T15:46:04.704" v="4113" actId="1076"/>
          <ac:spMkLst>
            <pc:docMk/>
            <pc:sldMk cId="3015356068" sldId="348"/>
            <ac:spMk id="36" creationId="{BA1BEDEA-AEB1-453C-8645-13B52D95134D}"/>
          </ac:spMkLst>
        </pc:spChg>
        <pc:spChg chg="del">
          <ac:chgData name="Henry" userId="02f5dd7c-8d1c-42af-a438-3c1752a452dc" providerId="ADAL" clId="{5942D110-875B-42FB-AC8A-CA70EB9445B0}" dt="2020-11-13T12:34:22.646" v="779" actId="478"/>
          <ac:spMkLst>
            <pc:docMk/>
            <pc:sldMk cId="3015356068" sldId="348"/>
            <ac:spMk id="38" creationId="{EC0C8FBA-89A9-437E-97AA-EFCF801FF675}"/>
          </ac:spMkLst>
        </pc:spChg>
        <pc:spChg chg="del">
          <ac:chgData name="Henry" userId="02f5dd7c-8d1c-42af-a438-3c1752a452dc" providerId="ADAL" clId="{5942D110-875B-42FB-AC8A-CA70EB9445B0}" dt="2020-11-13T12:34:22.646" v="779" actId="478"/>
          <ac:spMkLst>
            <pc:docMk/>
            <pc:sldMk cId="3015356068" sldId="348"/>
            <ac:spMk id="42" creationId="{474DF621-E192-4DBD-A76C-D7B15B9901FD}"/>
          </ac:spMkLst>
        </pc:spChg>
        <pc:spChg chg="add mod">
          <ac:chgData name="Henry" userId="02f5dd7c-8d1c-42af-a438-3c1752a452dc" providerId="ADAL" clId="{5942D110-875B-42FB-AC8A-CA70EB9445B0}" dt="2020-11-18T15:48:30.102" v="4191" actId="1076"/>
          <ac:spMkLst>
            <pc:docMk/>
            <pc:sldMk cId="3015356068" sldId="348"/>
            <ac:spMk id="47" creationId="{D527DF55-0247-4D48-87FE-DB08A739BF5C}"/>
          </ac:spMkLst>
        </pc:spChg>
        <pc:spChg chg="add mod">
          <ac:chgData name="Henry" userId="02f5dd7c-8d1c-42af-a438-3c1752a452dc" providerId="ADAL" clId="{5942D110-875B-42FB-AC8A-CA70EB9445B0}" dt="2020-11-18T15:48:40.842" v="4194" actId="20577"/>
          <ac:spMkLst>
            <pc:docMk/>
            <pc:sldMk cId="3015356068" sldId="348"/>
            <ac:spMk id="49" creationId="{2F4B6C5B-3FB4-48C1-9896-D10C3644DD19}"/>
          </ac:spMkLst>
        </pc:spChg>
        <pc:spChg chg="del">
          <ac:chgData name="Henry" userId="02f5dd7c-8d1c-42af-a438-3c1752a452dc" providerId="ADAL" clId="{5942D110-875B-42FB-AC8A-CA70EB9445B0}" dt="2020-11-13T12:34:22.646" v="779" actId="478"/>
          <ac:spMkLst>
            <pc:docMk/>
            <pc:sldMk cId="3015356068" sldId="348"/>
            <ac:spMk id="62" creationId="{DAB2AE22-890B-4885-8B5F-9E4A56C1217B}"/>
          </ac:spMkLst>
        </pc:spChg>
        <pc:spChg chg="del">
          <ac:chgData name="Henry" userId="02f5dd7c-8d1c-42af-a438-3c1752a452dc" providerId="ADAL" clId="{5942D110-875B-42FB-AC8A-CA70EB9445B0}" dt="2020-11-13T12:34:22.646" v="779" actId="478"/>
          <ac:spMkLst>
            <pc:docMk/>
            <pc:sldMk cId="3015356068" sldId="348"/>
            <ac:spMk id="70" creationId="{F6AD4B57-18F0-472F-86DD-FAB0C8FBDCB4}"/>
          </ac:spMkLst>
        </pc:spChg>
        <pc:spChg chg="del">
          <ac:chgData name="Henry" userId="02f5dd7c-8d1c-42af-a438-3c1752a452dc" providerId="ADAL" clId="{5942D110-875B-42FB-AC8A-CA70EB9445B0}" dt="2020-11-13T12:34:22.646" v="779" actId="478"/>
          <ac:spMkLst>
            <pc:docMk/>
            <pc:sldMk cId="3015356068" sldId="348"/>
            <ac:spMk id="102" creationId="{3DCA5A42-DDF7-4F21-A519-3DEE08FA4200}"/>
          </ac:spMkLst>
        </pc:spChg>
        <pc:picChg chg="add del mod">
          <ac:chgData name="Henry" userId="02f5dd7c-8d1c-42af-a438-3c1752a452dc" providerId="ADAL" clId="{5942D110-875B-42FB-AC8A-CA70EB9445B0}" dt="2020-11-18T15:11:20.193" v="4046" actId="478"/>
          <ac:picMkLst>
            <pc:docMk/>
            <pc:sldMk cId="3015356068" sldId="348"/>
            <ac:picMk id="4" creationId="{3191709D-0B9F-420C-AC7B-7326755DB79A}"/>
          </ac:picMkLst>
        </pc:picChg>
        <pc:picChg chg="del">
          <ac:chgData name="Henry" userId="02f5dd7c-8d1c-42af-a438-3c1752a452dc" providerId="ADAL" clId="{5942D110-875B-42FB-AC8A-CA70EB9445B0}" dt="2020-11-13T12:34:22.646" v="779" actId="478"/>
          <ac:picMkLst>
            <pc:docMk/>
            <pc:sldMk cId="3015356068" sldId="348"/>
            <ac:picMk id="6" creationId="{5987BCC1-65AF-404C-8FAA-C158B4B558CA}"/>
          </ac:picMkLst>
        </pc:picChg>
        <pc:picChg chg="add del mod">
          <ac:chgData name="Henry" userId="02f5dd7c-8d1c-42af-a438-3c1752a452dc" providerId="ADAL" clId="{5942D110-875B-42FB-AC8A-CA70EB9445B0}" dt="2020-11-18T15:00:10.250" v="3869" actId="478"/>
          <ac:picMkLst>
            <pc:docMk/>
            <pc:sldMk cId="3015356068" sldId="348"/>
            <ac:picMk id="7" creationId="{DD23C10F-BC64-476B-855A-D84FB13904EC}"/>
          </ac:picMkLst>
        </pc:picChg>
        <pc:picChg chg="add del mod">
          <ac:chgData name="Henry" userId="02f5dd7c-8d1c-42af-a438-3c1752a452dc" providerId="ADAL" clId="{5942D110-875B-42FB-AC8A-CA70EB9445B0}" dt="2020-11-18T15:11:20.193" v="4046" actId="478"/>
          <ac:picMkLst>
            <pc:docMk/>
            <pc:sldMk cId="3015356068" sldId="348"/>
            <ac:picMk id="8" creationId="{891B5FEA-127F-4774-9E38-409A5F31C007}"/>
          </ac:picMkLst>
        </pc:picChg>
        <pc:picChg chg="add del mod">
          <ac:chgData name="Henry" userId="02f5dd7c-8d1c-42af-a438-3c1752a452dc" providerId="ADAL" clId="{5942D110-875B-42FB-AC8A-CA70EB9445B0}" dt="2020-11-18T15:41:02.127" v="4081" actId="478"/>
          <ac:picMkLst>
            <pc:docMk/>
            <pc:sldMk cId="3015356068" sldId="348"/>
            <ac:picMk id="11" creationId="{9343FA3A-35F5-486E-9072-D57A504B6FFC}"/>
          </ac:picMkLst>
        </pc:picChg>
        <pc:picChg chg="add del mod">
          <ac:chgData name="Henry" userId="02f5dd7c-8d1c-42af-a438-3c1752a452dc" providerId="ADAL" clId="{5942D110-875B-42FB-AC8A-CA70EB9445B0}" dt="2020-11-18T15:41:00.427" v="4080" actId="478"/>
          <ac:picMkLst>
            <pc:docMk/>
            <pc:sldMk cId="3015356068" sldId="348"/>
            <ac:picMk id="14" creationId="{EE59AE1F-7C72-4EC8-ACE2-231806F36299}"/>
          </ac:picMkLst>
        </pc:picChg>
        <pc:picChg chg="add mod">
          <ac:chgData name="Henry" userId="02f5dd7c-8d1c-42af-a438-3c1752a452dc" providerId="ADAL" clId="{5942D110-875B-42FB-AC8A-CA70EB9445B0}" dt="2020-11-18T15:55:24.988" v="4329" actId="1076"/>
          <ac:picMkLst>
            <pc:docMk/>
            <pc:sldMk cId="3015356068" sldId="348"/>
            <ac:picMk id="51" creationId="{36C54D3C-BDF3-47BF-AC2D-CA9B2496B6BA}"/>
          </ac:picMkLst>
        </pc:picChg>
        <pc:cxnChg chg="add mod">
          <ac:chgData name="Henry" userId="02f5dd7c-8d1c-42af-a438-3c1752a452dc" providerId="ADAL" clId="{5942D110-875B-42FB-AC8A-CA70EB9445B0}" dt="2020-11-18T15:44:46.354" v="4093" actId="208"/>
          <ac:cxnSpMkLst>
            <pc:docMk/>
            <pc:sldMk cId="3015356068" sldId="348"/>
            <ac:cxnSpMk id="18" creationId="{0AEF2AA9-3FB7-486D-B170-9210FA1D1E54}"/>
          </ac:cxnSpMkLst>
        </pc:cxnChg>
        <pc:cxnChg chg="add mod">
          <ac:chgData name="Henry" userId="02f5dd7c-8d1c-42af-a438-3c1752a452dc" providerId="ADAL" clId="{5942D110-875B-42FB-AC8A-CA70EB9445B0}" dt="2020-11-18T15:44:46.354" v="4093" actId="208"/>
          <ac:cxnSpMkLst>
            <pc:docMk/>
            <pc:sldMk cId="3015356068" sldId="348"/>
            <ac:cxnSpMk id="19" creationId="{2237C1E3-988D-4A21-A3AC-8D03DA84B148}"/>
          </ac:cxnSpMkLst>
        </pc:cxnChg>
        <pc:cxnChg chg="del">
          <ac:chgData name="Henry" userId="02f5dd7c-8d1c-42af-a438-3c1752a452dc" providerId="ADAL" clId="{5942D110-875B-42FB-AC8A-CA70EB9445B0}" dt="2020-11-13T12:34:22.646" v="779" actId="478"/>
          <ac:cxnSpMkLst>
            <pc:docMk/>
            <pc:sldMk cId="3015356068" sldId="348"/>
            <ac:cxnSpMk id="30" creationId="{CDE8BCB9-A1A9-4586-ACF7-05BD57FB1122}"/>
          </ac:cxnSpMkLst>
        </pc:cxnChg>
        <pc:cxnChg chg="del">
          <ac:chgData name="Henry" userId="02f5dd7c-8d1c-42af-a438-3c1752a452dc" providerId="ADAL" clId="{5942D110-875B-42FB-AC8A-CA70EB9445B0}" dt="2020-11-13T12:34:22.646" v="779" actId="478"/>
          <ac:cxnSpMkLst>
            <pc:docMk/>
            <pc:sldMk cId="3015356068" sldId="348"/>
            <ac:cxnSpMk id="33" creationId="{0E9886A2-87B9-4AC1-86AB-689C3A92D86C}"/>
          </ac:cxnSpMkLst>
        </pc:cxnChg>
        <pc:cxnChg chg="del">
          <ac:chgData name="Henry" userId="02f5dd7c-8d1c-42af-a438-3c1752a452dc" providerId="ADAL" clId="{5942D110-875B-42FB-AC8A-CA70EB9445B0}" dt="2020-11-13T12:34:22.646" v="779" actId="478"/>
          <ac:cxnSpMkLst>
            <pc:docMk/>
            <pc:sldMk cId="3015356068" sldId="348"/>
            <ac:cxnSpMk id="36" creationId="{A2AE1B19-AFB1-4B62-97E9-707593BFA14C}"/>
          </ac:cxnSpMkLst>
        </pc:cxnChg>
        <pc:cxnChg chg="add mod">
          <ac:chgData name="Henry" userId="02f5dd7c-8d1c-42af-a438-3c1752a452dc" providerId="ADAL" clId="{5942D110-875B-42FB-AC8A-CA70EB9445B0}" dt="2020-11-18T15:47:49.753" v="4179" actId="14100"/>
          <ac:cxnSpMkLst>
            <pc:docMk/>
            <pc:sldMk cId="3015356068" sldId="348"/>
            <ac:cxnSpMk id="38" creationId="{A0797CBC-DDBD-418C-941F-6D1C082BE00A}"/>
          </ac:cxnSpMkLst>
        </pc:cxnChg>
        <pc:cxnChg chg="add mod">
          <ac:chgData name="Henry" userId="02f5dd7c-8d1c-42af-a438-3c1752a452dc" providerId="ADAL" clId="{5942D110-875B-42FB-AC8A-CA70EB9445B0}" dt="2020-11-18T15:47:35.263" v="4172" actId="14100"/>
          <ac:cxnSpMkLst>
            <pc:docMk/>
            <pc:sldMk cId="3015356068" sldId="348"/>
            <ac:cxnSpMk id="39" creationId="{19AB441D-EEA1-41C2-A1DF-2B8CC17C7F2D}"/>
          </ac:cxnSpMkLst>
        </pc:cxnChg>
        <pc:cxnChg chg="del">
          <ac:chgData name="Henry" userId="02f5dd7c-8d1c-42af-a438-3c1752a452dc" providerId="ADAL" clId="{5942D110-875B-42FB-AC8A-CA70EB9445B0}" dt="2020-11-13T12:34:22.646" v="779" actId="478"/>
          <ac:cxnSpMkLst>
            <pc:docMk/>
            <pc:sldMk cId="3015356068" sldId="348"/>
            <ac:cxnSpMk id="40" creationId="{464D612A-0DAE-42BE-9C50-F0C932819140}"/>
          </ac:cxnSpMkLst>
        </pc:cxnChg>
        <pc:cxnChg chg="add mod">
          <ac:chgData name="Henry" userId="02f5dd7c-8d1c-42af-a438-3c1752a452dc" providerId="ADAL" clId="{5942D110-875B-42FB-AC8A-CA70EB9445B0}" dt="2020-11-18T15:47:43.373" v="4176" actId="14100"/>
          <ac:cxnSpMkLst>
            <pc:docMk/>
            <pc:sldMk cId="3015356068" sldId="348"/>
            <ac:cxnSpMk id="42" creationId="{17646566-F1C6-4F60-92CE-DA2A06CFCD28}"/>
          </ac:cxnSpMkLst>
        </pc:cxnChg>
        <pc:cxnChg chg="del">
          <ac:chgData name="Henry" userId="02f5dd7c-8d1c-42af-a438-3c1752a452dc" providerId="ADAL" clId="{5942D110-875B-42FB-AC8A-CA70EB9445B0}" dt="2020-11-13T12:34:22.646" v="779" actId="478"/>
          <ac:cxnSpMkLst>
            <pc:docMk/>
            <pc:sldMk cId="3015356068" sldId="348"/>
            <ac:cxnSpMk id="44" creationId="{4ADDC58B-0666-4390-A41F-6E6F41214B2C}"/>
          </ac:cxnSpMkLst>
        </pc:cxnChg>
        <pc:cxnChg chg="del">
          <ac:chgData name="Henry" userId="02f5dd7c-8d1c-42af-a438-3c1752a452dc" providerId="ADAL" clId="{5942D110-875B-42FB-AC8A-CA70EB9445B0}" dt="2020-11-13T12:34:22.646" v="779" actId="478"/>
          <ac:cxnSpMkLst>
            <pc:docMk/>
            <pc:sldMk cId="3015356068" sldId="348"/>
            <ac:cxnSpMk id="45" creationId="{D083746B-4B02-44A8-93E1-BB3529C5DB76}"/>
          </ac:cxnSpMkLst>
        </pc:cxnChg>
        <pc:cxnChg chg="del">
          <ac:chgData name="Henry" userId="02f5dd7c-8d1c-42af-a438-3c1752a452dc" providerId="ADAL" clId="{5942D110-875B-42FB-AC8A-CA70EB9445B0}" dt="2020-11-13T12:34:22.646" v="779" actId="478"/>
          <ac:cxnSpMkLst>
            <pc:docMk/>
            <pc:sldMk cId="3015356068" sldId="348"/>
            <ac:cxnSpMk id="47" creationId="{DC4C0D8B-A27C-49BA-B4A6-87B41C867967}"/>
          </ac:cxnSpMkLst>
        </pc:cxnChg>
        <pc:cxnChg chg="del">
          <ac:chgData name="Henry" userId="02f5dd7c-8d1c-42af-a438-3c1752a452dc" providerId="ADAL" clId="{5942D110-875B-42FB-AC8A-CA70EB9445B0}" dt="2020-11-13T12:34:22.646" v="779" actId="478"/>
          <ac:cxnSpMkLst>
            <pc:docMk/>
            <pc:sldMk cId="3015356068" sldId="348"/>
            <ac:cxnSpMk id="48" creationId="{C15E09D4-C562-49D8-B809-1697369DCC12}"/>
          </ac:cxnSpMkLst>
        </pc:cxnChg>
        <pc:cxnChg chg="del">
          <ac:chgData name="Henry" userId="02f5dd7c-8d1c-42af-a438-3c1752a452dc" providerId="ADAL" clId="{5942D110-875B-42FB-AC8A-CA70EB9445B0}" dt="2020-11-13T12:34:22.646" v="779" actId="478"/>
          <ac:cxnSpMkLst>
            <pc:docMk/>
            <pc:sldMk cId="3015356068" sldId="348"/>
            <ac:cxnSpMk id="63" creationId="{30D5CCF6-42DF-4ACC-8669-362E2D84A73F}"/>
          </ac:cxnSpMkLst>
        </pc:cxnChg>
        <pc:cxnChg chg="del">
          <ac:chgData name="Henry" userId="02f5dd7c-8d1c-42af-a438-3c1752a452dc" providerId="ADAL" clId="{5942D110-875B-42FB-AC8A-CA70EB9445B0}" dt="2020-11-13T12:34:22.646" v="779" actId="478"/>
          <ac:cxnSpMkLst>
            <pc:docMk/>
            <pc:sldMk cId="3015356068" sldId="348"/>
            <ac:cxnSpMk id="64" creationId="{2E11044F-E9A8-4F8A-AEA7-B5DA101F46F5}"/>
          </ac:cxnSpMkLst>
        </pc:cxnChg>
        <pc:cxnChg chg="del">
          <ac:chgData name="Henry" userId="02f5dd7c-8d1c-42af-a438-3c1752a452dc" providerId="ADAL" clId="{5942D110-875B-42FB-AC8A-CA70EB9445B0}" dt="2020-11-13T12:34:22.646" v="779" actId="478"/>
          <ac:cxnSpMkLst>
            <pc:docMk/>
            <pc:sldMk cId="3015356068" sldId="348"/>
            <ac:cxnSpMk id="65" creationId="{BD3E8F0D-4CF7-4907-9585-D396C2DF657B}"/>
          </ac:cxnSpMkLst>
        </pc:cxnChg>
        <pc:cxnChg chg="del">
          <ac:chgData name="Henry" userId="02f5dd7c-8d1c-42af-a438-3c1752a452dc" providerId="ADAL" clId="{5942D110-875B-42FB-AC8A-CA70EB9445B0}" dt="2020-11-13T12:34:22.646" v="779" actId="478"/>
          <ac:cxnSpMkLst>
            <pc:docMk/>
            <pc:sldMk cId="3015356068" sldId="348"/>
            <ac:cxnSpMk id="66" creationId="{9ABCA186-7894-4B3C-AC9C-FD48790786D1}"/>
          </ac:cxnSpMkLst>
        </pc:cxnChg>
        <pc:cxnChg chg="del">
          <ac:chgData name="Henry" userId="02f5dd7c-8d1c-42af-a438-3c1752a452dc" providerId="ADAL" clId="{5942D110-875B-42FB-AC8A-CA70EB9445B0}" dt="2020-11-13T12:34:22.646" v="779" actId="478"/>
          <ac:cxnSpMkLst>
            <pc:docMk/>
            <pc:sldMk cId="3015356068" sldId="348"/>
            <ac:cxnSpMk id="71" creationId="{6BAA0541-C9C7-44FC-B849-079345B0DBED}"/>
          </ac:cxnSpMkLst>
        </pc:cxnChg>
        <pc:cxnChg chg="del">
          <ac:chgData name="Henry" userId="02f5dd7c-8d1c-42af-a438-3c1752a452dc" providerId="ADAL" clId="{5942D110-875B-42FB-AC8A-CA70EB9445B0}" dt="2020-11-13T12:34:22.646" v="779" actId="478"/>
          <ac:cxnSpMkLst>
            <pc:docMk/>
            <pc:sldMk cId="3015356068" sldId="348"/>
            <ac:cxnSpMk id="76" creationId="{C61DDE5A-02BF-4034-89D7-FBC5BDA384A2}"/>
          </ac:cxnSpMkLst>
        </pc:cxnChg>
        <pc:cxnChg chg="del">
          <ac:chgData name="Henry" userId="02f5dd7c-8d1c-42af-a438-3c1752a452dc" providerId="ADAL" clId="{5942D110-875B-42FB-AC8A-CA70EB9445B0}" dt="2020-11-13T12:34:22.646" v="779" actId="478"/>
          <ac:cxnSpMkLst>
            <pc:docMk/>
            <pc:sldMk cId="3015356068" sldId="348"/>
            <ac:cxnSpMk id="79" creationId="{CF62CFB2-312F-4A15-92AD-DDCA19D36E48}"/>
          </ac:cxnSpMkLst>
        </pc:cxnChg>
        <pc:cxnChg chg="del mod">
          <ac:chgData name="Henry" userId="02f5dd7c-8d1c-42af-a438-3c1752a452dc" providerId="ADAL" clId="{5942D110-875B-42FB-AC8A-CA70EB9445B0}" dt="2020-11-13T12:34:22.646" v="779" actId="478"/>
          <ac:cxnSpMkLst>
            <pc:docMk/>
            <pc:sldMk cId="3015356068" sldId="348"/>
            <ac:cxnSpMk id="82" creationId="{E29DBD22-DCA7-4F73-B37C-17FC2258B2B7}"/>
          </ac:cxnSpMkLst>
        </pc:cxnChg>
        <pc:cxnChg chg="del">
          <ac:chgData name="Henry" userId="02f5dd7c-8d1c-42af-a438-3c1752a452dc" providerId="ADAL" clId="{5942D110-875B-42FB-AC8A-CA70EB9445B0}" dt="2020-11-13T12:34:22.646" v="779" actId="478"/>
          <ac:cxnSpMkLst>
            <pc:docMk/>
            <pc:sldMk cId="3015356068" sldId="348"/>
            <ac:cxnSpMk id="86" creationId="{2BA180F2-4B1C-4CDC-8DB7-E50FD81EEE66}"/>
          </ac:cxnSpMkLst>
        </pc:cxnChg>
        <pc:cxnChg chg="del">
          <ac:chgData name="Henry" userId="02f5dd7c-8d1c-42af-a438-3c1752a452dc" providerId="ADAL" clId="{5942D110-875B-42FB-AC8A-CA70EB9445B0}" dt="2020-11-13T12:34:22.646" v="779" actId="478"/>
          <ac:cxnSpMkLst>
            <pc:docMk/>
            <pc:sldMk cId="3015356068" sldId="348"/>
            <ac:cxnSpMk id="88" creationId="{168941C5-5FD3-47FA-B30D-DA7C89263B70}"/>
          </ac:cxnSpMkLst>
        </pc:cxnChg>
        <pc:cxnChg chg="del">
          <ac:chgData name="Henry" userId="02f5dd7c-8d1c-42af-a438-3c1752a452dc" providerId="ADAL" clId="{5942D110-875B-42FB-AC8A-CA70EB9445B0}" dt="2020-11-13T12:34:22.646" v="779" actId="478"/>
          <ac:cxnSpMkLst>
            <pc:docMk/>
            <pc:sldMk cId="3015356068" sldId="348"/>
            <ac:cxnSpMk id="91" creationId="{D47F9A7C-4341-4C7F-B338-98678F75D746}"/>
          </ac:cxnSpMkLst>
        </pc:cxnChg>
        <pc:cxnChg chg="del">
          <ac:chgData name="Henry" userId="02f5dd7c-8d1c-42af-a438-3c1752a452dc" providerId="ADAL" clId="{5942D110-875B-42FB-AC8A-CA70EB9445B0}" dt="2020-11-13T12:34:22.646" v="779" actId="478"/>
          <ac:cxnSpMkLst>
            <pc:docMk/>
            <pc:sldMk cId="3015356068" sldId="348"/>
            <ac:cxnSpMk id="94" creationId="{CC38FCFF-54D5-42D7-A11D-DE898E761A78}"/>
          </ac:cxnSpMkLst>
        </pc:cxnChg>
      </pc:sldChg>
      <pc:sldChg chg="addSp delSp modSp add mod ord modNotesTx">
        <pc:chgData name="Henry" userId="02f5dd7c-8d1c-42af-a438-3c1752a452dc" providerId="ADAL" clId="{5942D110-875B-42FB-AC8A-CA70EB9445B0}" dt="2020-11-20T14:03:32.787" v="20275" actId="20577"/>
        <pc:sldMkLst>
          <pc:docMk/>
          <pc:sldMk cId="1215019427" sldId="349"/>
        </pc:sldMkLst>
        <pc:spChg chg="mod">
          <ac:chgData name="Henry" userId="02f5dd7c-8d1c-42af-a438-3c1752a452dc" providerId="ADAL" clId="{5942D110-875B-42FB-AC8A-CA70EB9445B0}" dt="2020-11-15T14:55:25.372" v="1389" actId="20577"/>
          <ac:spMkLst>
            <pc:docMk/>
            <pc:sldMk cId="1215019427" sldId="349"/>
            <ac:spMk id="2" creationId="{3F62044A-0FD2-48A0-A969-AF8653966472}"/>
          </ac:spMkLst>
        </pc:spChg>
        <pc:spChg chg="add del mod">
          <ac:chgData name="Henry" userId="02f5dd7c-8d1c-42af-a438-3c1752a452dc" providerId="ADAL" clId="{5942D110-875B-42FB-AC8A-CA70EB9445B0}" dt="2020-11-15T15:54:31.788" v="1498" actId="22"/>
          <ac:spMkLst>
            <pc:docMk/>
            <pc:sldMk cId="1215019427" sldId="349"/>
            <ac:spMk id="4" creationId="{CCA5B217-9323-4CCC-8F68-0BDEEE1CBDFD}"/>
          </ac:spMkLst>
        </pc:spChg>
        <pc:spChg chg="mod">
          <ac:chgData name="Henry" userId="02f5dd7c-8d1c-42af-a438-3c1752a452dc" providerId="ADAL" clId="{5942D110-875B-42FB-AC8A-CA70EB9445B0}" dt="2020-11-18T16:15:59.632" v="4403" actId="1076"/>
          <ac:spMkLst>
            <pc:docMk/>
            <pc:sldMk cId="1215019427" sldId="349"/>
            <ac:spMk id="5" creationId="{F5E7AF60-05A5-E846-8FE2-463486EF3220}"/>
          </ac:spMkLst>
        </pc:spChg>
        <pc:spChg chg="add del mod">
          <ac:chgData name="Henry" userId="02f5dd7c-8d1c-42af-a438-3c1752a452dc" providerId="ADAL" clId="{5942D110-875B-42FB-AC8A-CA70EB9445B0}" dt="2020-11-15T15:54:30.674" v="1495" actId="22"/>
          <ac:spMkLst>
            <pc:docMk/>
            <pc:sldMk cId="1215019427" sldId="349"/>
            <ac:spMk id="6" creationId="{74E1DE24-56FD-4A98-A69B-A0AA80F430DB}"/>
          </ac:spMkLst>
        </pc:spChg>
        <pc:spChg chg="add mod">
          <ac:chgData name="Henry" userId="02f5dd7c-8d1c-42af-a438-3c1752a452dc" providerId="ADAL" clId="{5942D110-875B-42FB-AC8A-CA70EB9445B0}" dt="2020-11-15T16:06:19.339" v="1650" actId="1076"/>
          <ac:spMkLst>
            <pc:docMk/>
            <pc:sldMk cId="1215019427" sldId="349"/>
            <ac:spMk id="7" creationId="{8E25744C-0848-4185-A12A-4A75879C21F0}"/>
          </ac:spMkLst>
        </pc:spChg>
        <pc:spChg chg="add mod">
          <ac:chgData name="Henry" userId="02f5dd7c-8d1c-42af-a438-3c1752a452dc" providerId="ADAL" clId="{5942D110-875B-42FB-AC8A-CA70EB9445B0}" dt="2020-11-15T16:06:19.339" v="1650" actId="1076"/>
          <ac:spMkLst>
            <pc:docMk/>
            <pc:sldMk cId="1215019427" sldId="349"/>
            <ac:spMk id="8" creationId="{1BE19139-4214-4DE8-936D-EA7003CBC8CE}"/>
          </ac:spMkLst>
        </pc:spChg>
        <pc:spChg chg="add mod">
          <ac:chgData name="Henry" userId="02f5dd7c-8d1c-42af-a438-3c1752a452dc" providerId="ADAL" clId="{5942D110-875B-42FB-AC8A-CA70EB9445B0}" dt="2020-11-15T16:06:19.339" v="1650" actId="1076"/>
          <ac:spMkLst>
            <pc:docMk/>
            <pc:sldMk cId="1215019427" sldId="349"/>
            <ac:spMk id="9" creationId="{BF548DC1-E4B9-458E-8C4B-C664A6CF52EA}"/>
          </ac:spMkLst>
        </pc:spChg>
        <pc:spChg chg="add del mod">
          <ac:chgData name="Henry" userId="02f5dd7c-8d1c-42af-a438-3c1752a452dc" providerId="ADAL" clId="{5942D110-875B-42FB-AC8A-CA70EB9445B0}" dt="2020-11-15T15:56:45.213" v="1540" actId="478"/>
          <ac:spMkLst>
            <pc:docMk/>
            <pc:sldMk cId="1215019427" sldId="349"/>
            <ac:spMk id="10" creationId="{D35C6FE1-8028-4B86-A73A-BFD8CD6A1120}"/>
          </ac:spMkLst>
        </pc:spChg>
        <pc:spChg chg="add mod">
          <ac:chgData name="Henry" userId="02f5dd7c-8d1c-42af-a438-3c1752a452dc" providerId="ADAL" clId="{5942D110-875B-42FB-AC8A-CA70EB9445B0}" dt="2020-11-15T16:06:19.339" v="1650" actId="1076"/>
          <ac:spMkLst>
            <pc:docMk/>
            <pc:sldMk cId="1215019427" sldId="349"/>
            <ac:spMk id="11" creationId="{42C2E51F-4755-4E5F-8D07-E6D3ABEAE61C}"/>
          </ac:spMkLst>
        </pc:spChg>
        <pc:spChg chg="add mod">
          <ac:chgData name="Henry" userId="02f5dd7c-8d1c-42af-a438-3c1752a452dc" providerId="ADAL" clId="{5942D110-875B-42FB-AC8A-CA70EB9445B0}" dt="2020-11-15T16:06:19.339" v="1650" actId="1076"/>
          <ac:spMkLst>
            <pc:docMk/>
            <pc:sldMk cId="1215019427" sldId="349"/>
            <ac:spMk id="14" creationId="{90FBB6C1-490A-4467-BECE-A9AEC99A9156}"/>
          </ac:spMkLst>
        </pc:spChg>
        <pc:spChg chg="add mod">
          <ac:chgData name="Henry" userId="02f5dd7c-8d1c-42af-a438-3c1752a452dc" providerId="ADAL" clId="{5942D110-875B-42FB-AC8A-CA70EB9445B0}" dt="2020-11-15T16:06:19.339" v="1650" actId="1076"/>
          <ac:spMkLst>
            <pc:docMk/>
            <pc:sldMk cId="1215019427" sldId="349"/>
            <ac:spMk id="15" creationId="{C8490441-E494-4BD5-AE11-469727E2824E}"/>
          </ac:spMkLst>
        </pc:spChg>
        <pc:spChg chg="mod">
          <ac:chgData name="Henry" userId="02f5dd7c-8d1c-42af-a438-3c1752a452dc" providerId="ADAL" clId="{5942D110-875B-42FB-AC8A-CA70EB9445B0}" dt="2020-11-15T15:17:17.720" v="1456"/>
          <ac:spMkLst>
            <pc:docMk/>
            <pc:sldMk cId="1215019427" sldId="349"/>
            <ac:spMk id="55" creationId="{AA8EEAD4-975B-4A29-A2E7-CD69E5BA7D0D}"/>
          </ac:spMkLst>
        </pc:spChg>
        <pc:spChg chg="mod">
          <ac:chgData name="Henry" userId="02f5dd7c-8d1c-42af-a438-3c1752a452dc" providerId="ADAL" clId="{5942D110-875B-42FB-AC8A-CA70EB9445B0}" dt="2020-11-15T15:17:17.720" v="1456"/>
          <ac:spMkLst>
            <pc:docMk/>
            <pc:sldMk cId="1215019427" sldId="349"/>
            <ac:spMk id="56" creationId="{15FE6B13-C3FB-47B7-BB6D-7CFBF3946D6A}"/>
          </ac:spMkLst>
        </pc:spChg>
        <pc:spChg chg="mod">
          <ac:chgData name="Henry" userId="02f5dd7c-8d1c-42af-a438-3c1752a452dc" providerId="ADAL" clId="{5942D110-875B-42FB-AC8A-CA70EB9445B0}" dt="2020-11-15T15:17:17.720" v="1456"/>
          <ac:spMkLst>
            <pc:docMk/>
            <pc:sldMk cId="1215019427" sldId="349"/>
            <ac:spMk id="59" creationId="{87033D55-6FA3-40CD-BD4E-23ACEECFACB2}"/>
          </ac:spMkLst>
        </pc:spChg>
        <pc:spChg chg="mod">
          <ac:chgData name="Henry" userId="02f5dd7c-8d1c-42af-a438-3c1752a452dc" providerId="ADAL" clId="{5942D110-875B-42FB-AC8A-CA70EB9445B0}" dt="2020-11-15T15:17:17.720" v="1456"/>
          <ac:spMkLst>
            <pc:docMk/>
            <pc:sldMk cId="1215019427" sldId="349"/>
            <ac:spMk id="60" creationId="{2E0DE706-39C8-4F73-8F43-73DCD4C5A342}"/>
          </ac:spMkLst>
        </pc:spChg>
        <pc:spChg chg="mod">
          <ac:chgData name="Henry" userId="02f5dd7c-8d1c-42af-a438-3c1752a452dc" providerId="ADAL" clId="{5942D110-875B-42FB-AC8A-CA70EB9445B0}" dt="2020-11-15T15:17:17.720" v="1456"/>
          <ac:spMkLst>
            <pc:docMk/>
            <pc:sldMk cId="1215019427" sldId="349"/>
            <ac:spMk id="61" creationId="{0AF4BDC0-41B0-4492-A48D-E4A3A5B36C63}"/>
          </ac:spMkLst>
        </pc:spChg>
        <pc:spChg chg="add mod">
          <ac:chgData name="Henry" userId="02f5dd7c-8d1c-42af-a438-3c1752a452dc" providerId="ADAL" clId="{5942D110-875B-42FB-AC8A-CA70EB9445B0}" dt="2020-11-15T16:09:00.284" v="1655" actId="20577"/>
          <ac:spMkLst>
            <pc:docMk/>
            <pc:sldMk cId="1215019427" sldId="349"/>
            <ac:spMk id="85" creationId="{395F1F60-D0A1-40E3-B05E-73D8BC375572}"/>
          </ac:spMkLst>
        </pc:spChg>
        <pc:spChg chg="add del mod">
          <ac:chgData name="Henry" userId="02f5dd7c-8d1c-42af-a438-3c1752a452dc" providerId="ADAL" clId="{5942D110-875B-42FB-AC8A-CA70EB9445B0}" dt="2020-11-15T16:06:19.339" v="1650" actId="1076"/>
          <ac:spMkLst>
            <pc:docMk/>
            <pc:sldMk cId="1215019427" sldId="349"/>
            <ac:spMk id="86" creationId="{8A2A3A87-710C-4AB9-A68E-AB7F551931C9}"/>
          </ac:spMkLst>
        </pc:spChg>
        <pc:spChg chg="add del mod">
          <ac:chgData name="Henry" userId="02f5dd7c-8d1c-42af-a438-3c1752a452dc" providerId="ADAL" clId="{5942D110-875B-42FB-AC8A-CA70EB9445B0}" dt="2020-11-15T16:06:19.339" v="1650" actId="1076"/>
          <ac:spMkLst>
            <pc:docMk/>
            <pc:sldMk cId="1215019427" sldId="349"/>
            <ac:spMk id="88" creationId="{A71803E6-42DB-43F4-9777-7BF145F8A0AE}"/>
          </ac:spMkLst>
        </pc:spChg>
        <pc:spChg chg="mod">
          <ac:chgData name="Henry" userId="02f5dd7c-8d1c-42af-a438-3c1752a452dc" providerId="ADAL" clId="{5942D110-875B-42FB-AC8A-CA70EB9445B0}" dt="2020-11-18T17:41:01.873" v="4890" actId="20577"/>
          <ac:spMkLst>
            <pc:docMk/>
            <pc:sldMk cId="1215019427" sldId="349"/>
            <ac:spMk id="91" creationId="{248BB64A-2681-154D-A068-C8F7AB789180}"/>
          </ac:spMkLst>
        </pc:spChg>
        <pc:spChg chg="mod">
          <ac:chgData name="Henry" userId="02f5dd7c-8d1c-42af-a438-3c1752a452dc" providerId="ADAL" clId="{5942D110-875B-42FB-AC8A-CA70EB9445B0}" dt="2020-11-15T15:17:17.720" v="1456"/>
          <ac:spMkLst>
            <pc:docMk/>
            <pc:sldMk cId="1215019427" sldId="349"/>
            <ac:spMk id="95" creationId="{94093CC1-721A-42D0-94B5-9E695E5A437C}"/>
          </ac:spMkLst>
        </pc:spChg>
        <pc:spChg chg="mod">
          <ac:chgData name="Henry" userId="02f5dd7c-8d1c-42af-a438-3c1752a452dc" providerId="ADAL" clId="{5942D110-875B-42FB-AC8A-CA70EB9445B0}" dt="2020-11-15T15:17:17.720" v="1456"/>
          <ac:spMkLst>
            <pc:docMk/>
            <pc:sldMk cId="1215019427" sldId="349"/>
            <ac:spMk id="96" creationId="{F98F46B6-86ED-47CC-814C-7BF16CAE1F5C}"/>
          </ac:spMkLst>
        </pc:spChg>
        <pc:spChg chg="mod">
          <ac:chgData name="Henry" userId="02f5dd7c-8d1c-42af-a438-3c1752a452dc" providerId="ADAL" clId="{5942D110-875B-42FB-AC8A-CA70EB9445B0}" dt="2020-11-15T15:17:17.720" v="1456"/>
          <ac:spMkLst>
            <pc:docMk/>
            <pc:sldMk cId="1215019427" sldId="349"/>
            <ac:spMk id="99" creationId="{A5AB2256-5E28-4AF7-9EBC-CA0913CEB53D}"/>
          </ac:spMkLst>
        </pc:spChg>
        <pc:spChg chg="mod">
          <ac:chgData name="Henry" userId="02f5dd7c-8d1c-42af-a438-3c1752a452dc" providerId="ADAL" clId="{5942D110-875B-42FB-AC8A-CA70EB9445B0}" dt="2020-11-15T15:17:17.720" v="1456"/>
          <ac:spMkLst>
            <pc:docMk/>
            <pc:sldMk cId="1215019427" sldId="349"/>
            <ac:spMk id="100" creationId="{E96E3BB6-D09E-46DF-B545-C2FB83BEE911}"/>
          </ac:spMkLst>
        </pc:spChg>
        <pc:spChg chg="mod">
          <ac:chgData name="Henry" userId="02f5dd7c-8d1c-42af-a438-3c1752a452dc" providerId="ADAL" clId="{5942D110-875B-42FB-AC8A-CA70EB9445B0}" dt="2020-11-15T15:17:17.720" v="1456"/>
          <ac:spMkLst>
            <pc:docMk/>
            <pc:sldMk cId="1215019427" sldId="349"/>
            <ac:spMk id="101" creationId="{13677EF9-A143-43BB-BC82-373EEB0C3194}"/>
          </ac:spMkLst>
        </pc:spChg>
        <pc:spChg chg="mod">
          <ac:chgData name="Henry" userId="02f5dd7c-8d1c-42af-a438-3c1752a452dc" providerId="ADAL" clId="{5942D110-875B-42FB-AC8A-CA70EB9445B0}" dt="2020-11-15T15:17:17.720" v="1456"/>
          <ac:spMkLst>
            <pc:docMk/>
            <pc:sldMk cId="1215019427" sldId="349"/>
            <ac:spMk id="105" creationId="{89CB265E-FCB4-4CCD-96C6-8D2B26CB8E3C}"/>
          </ac:spMkLst>
        </pc:spChg>
        <pc:spChg chg="add mod">
          <ac:chgData name="Henry" userId="02f5dd7c-8d1c-42af-a438-3c1752a452dc" providerId="ADAL" clId="{5942D110-875B-42FB-AC8A-CA70EB9445B0}" dt="2020-11-15T16:06:19.339" v="1650" actId="1076"/>
          <ac:spMkLst>
            <pc:docMk/>
            <pc:sldMk cId="1215019427" sldId="349"/>
            <ac:spMk id="106" creationId="{3CF05F07-1C5A-4B3E-993B-7F82D9F47156}"/>
          </ac:spMkLst>
        </pc:spChg>
        <pc:spChg chg="mod">
          <ac:chgData name="Henry" userId="02f5dd7c-8d1c-42af-a438-3c1752a452dc" providerId="ADAL" clId="{5942D110-875B-42FB-AC8A-CA70EB9445B0}" dt="2020-11-15T15:17:17.720" v="1456"/>
          <ac:spMkLst>
            <pc:docMk/>
            <pc:sldMk cId="1215019427" sldId="349"/>
            <ac:spMk id="109" creationId="{9224CDAC-8211-409C-B63B-06B0AE89AFC3}"/>
          </ac:spMkLst>
        </pc:spChg>
        <pc:spChg chg="mod">
          <ac:chgData name="Henry" userId="02f5dd7c-8d1c-42af-a438-3c1752a452dc" providerId="ADAL" clId="{5942D110-875B-42FB-AC8A-CA70EB9445B0}" dt="2020-11-15T15:17:17.720" v="1456"/>
          <ac:spMkLst>
            <pc:docMk/>
            <pc:sldMk cId="1215019427" sldId="349"/>
            <ac:spMk id="110" creationId="{CA3DCCC1-DD61-4261-AF99-479346D70DED}"/>
          </ac:spMkLst>
        </pc:spChg>
        <pc:spChg chg="del mod topLvl">
          <ac:chgData name="Henry" userId="02f5dd7c-8d1c-42af-a438-3c1752a452dc" providerId="ADAL" clId="{5942D110-875B-42FB-AC8A-CA70EB9445B0}" dt="2020-11-15T15:17:23.967" v="1458" actId="478"/>
          <ac:spMkLst>
            <pc:docMk/>
            <pc:sldMk cId="1215019427" sldId="349"/>
            <ac:spMk id="112" creationId="{5E9B004E-536A-4978-B569-5D485F593227}"/>
          </ac:spMkLst>
        </pc:spChg>
        <pc:spChg chg="del mod topLvl">
          <ac:chgData name="Henry" userId="02f5dd7c-8d1c-42af-a438-3c1752a452dc" providerId="ADAL" clId="{5942D110-875B-42FB-AC8A-CA70EB9445B0}" dt="2020-11-15T15:17:25.954" v="1460" actId="478"/>
          <ac:spMkLst>
            <pc:docMk/>
            <pc:sldMk cId="1215019427" sldId="349"/>
            <ac:spMk id="113" creationId="{14671B99-C34C-48D6-A37A-A887941AF5A3}"/>
          </ac:spMkLst>
        </pc:spChg>
        <pc:spChg chg="add mod">
          <ac:chgData name="Henry" userId="02f5dd7c-8d1c-42af-a438-3c1752a452dc" providerId="ADAL" clId="{5942D110-875B-42FB-AC8A-CA70EB9445B0}" dt="2020-11-15T16:06:19.339" v="1650" actId="1076"/>
          <ac:spMkLst>
            <pc:docMk/>
            <pc:sldMk cId="1215019427" sldId="349"/>
            <ac:spMk id="114" creationId="{312C01B8-3A07-47A2-98E2-8EAA131E46F0}"/>
          </ac:spMkLst>
        </pc:spChg>
        <pc:spChg chg="mod topLvl">
          <ac:chgData name="Henry" userId="02f5dd7c-8d1c-42af-a438-3c1752a452dc" providerId="ADAL" clId="{5942D110-875B-42FB-AC8A-CA70EB9445B0}" dt="2020-11-15T15:58:53.196" v="1582" actId="164"/>
          <ac:spMkLst>
            <pc:docMk/>
            <pc:sldMk cId="1215019427" sldId="349"/>
            <ac:spMk id="128" creationId="{C774A2C5-AC77-4EAE-AF6D-9121BA3B6AEB}"/>
          </ac:spMkLst>
        </pc:spChg>
        <pc:spChg chg="add mod">
          <ac:chgData name="Henry" userId="02f5dd7c-8d1c-42af-a438-3c1752a452dc" providerId="ADAL" clId="{5942D110-875B-42FB-AC8A-CA70EB9445B0}" dt="2020-11-15T15:59:12.674" v="1596" actId="164"/>
          <ac:spMkLst>
            <pc:docMk/>
            <pc:sldMk cId="1215019427" sldId="349"/>
            <ac:spMk id="129" creationId="{6CF08B9E-AEEB-41A7-9566-605FC2D8BC73}"/>
          </ac:spMkLst>
        </pc:spChg>
        <pc:grpChg chg="add mod">
          <ac:chgData name="Henry" userId="02f5dd7c-8d1c-42af-a438-3c1752a452dc" providerId="ADAL" clId="{5942D110-875B-42FB-AC8A-CA70EB9445B0}" dt="2020-11-15T15:59:12.674" v="1596" actId="164"/>
          <ac:grpSpMkLst>
            <pc:docMk/>
            <pc:sldMk cId="1215019427" sldId="349"/>
            <ac:grpSpMk id="12" creationId="{308C2252-A9A3-4880-97F4-D2AEEF50E166}"/>
          </ac:grpSpMkLst>
        </pc:grpChg>
        <pc:grpChg chg="add mod">
          <ac:chgData name="Henry" userId="02f5dd7c-8d1c-42af-a438-3c1752a452dc" providerId="ADAL" clId="{5942D110-875B-42FB-AC8A-CA70EB9445B0}" dt="2020-11-15T16:06:19.339" v="1650" actId="1076"/>
          <ac:grpSpMkLst>
            <pc:docMk/>
            <pc:sldMk cId="1215019427" sldId="349"/>
            <ac:grpSpMk id="13" creationId="{79181B45-51AE-49EE-8DFC-035AD1BE4F0A}"/>
          </ac:grpSpMkLst>
        </pc:grpChg>
        <pc:grpChg chg="add mod">
          <ac:chgData name="Henry" userId="02f5dd7c-8d1c-42af-a438-3c1752a452dc" providerId="ADAL" clId="{5942D110-875B-42FB-AC8A-CA70EB9445B0}" dt="2020-11-15T16:06:19.339" v="1650" actId="1076"/>
          <ac:grpSpMkLst>
            <pc:docMk/>
            <pc:sldMk cId="1215019427" sldId="349"/>
            <ac:grpSpMk id="52" creationId="{278403BF-543B-46AB-A821-FE0CCBB9EB58}"/>
          </ac:grpSpMkLst>
        </pc:grpChg>
        <pc:grpChg chg="mod">
          <ac:chgData name="Henry" userId="02f5dd7c-8d1c-42af-a438-3c1752a452dc" providerId="ADAL" clId="{5942D110-875B-42FB-AC8A-CA70EB9445B0}" dt="2020-11-15T15:17:17.720" v="1456"/>
          <ac:grpSpMkLst>
            <pc:docMk/>
            <pc:sldMk cId="1215019427" sldId="349"/>
            <ac:grpSpMk id="54" creationId="{1F487CAE-9163-45C0-B067-C9439AC18495}"/>
          </ac:grpSpMkLst>
        </pc:grpChg>
        <pc:grpChg chg="del mod">
          <ac:chgData name="Henry" userId="02f5dd7c-8d1c-42af-a438-3c1752a452dc" providerId="ADAL" clId="{5942D110-875B-42FB-AC8A-CA70EB9445B0}" dt="2020-11-15T15:17:16.575" v="1455" actId="478"/>
          <ac:grpSpMkLst>
            <pc:docMk/>
            <pc:sldMk cId="1215019427" sldId="349"/>
            <ac:grpSpMk id="64" creationId="{0A35E26A-0E9C-2A47-B374-5F863D186FEC}"/>
          </ac:grpSpMkLst>
        </pc:grpChg>
        <pc:grpChg chg="del mod">
          <ac:chgData name="Henry" userId="02f5dd7c-8d1c-42af-a438-3c1752a452dc" providerId="ADAL" clId="{5942D110-875B-42FB-AC8A-CA70EB9445B0}" dt="2020-11-15T14:55:45.546" v="1417" actId="478"/>
          <ac:grpSpMkLst>
            <pc:docMk/>
            <pc:sldMk cId="1215019427" sldId="349"/>
            <ac:grpSpMk id="92" creationId="{CE6E63CB-75D5-1245-9AD7-2083A8B98BBE}"/>
          </ac:grpSpMkLst>
        </pc:grpChg>
        <pc:grpChg chg="add mod">
          <ac:chgData name="Henry" userId="02f5dd7c-8d1c-42af-a438-3c1752a452dc" providerId="ADAL" clId="{5942D110-875B-42FB-AC8A-CA70EB9445B0}" dt="2020-11-15T16:06:19.339" v="1650" actId="1076"/>
          <ac:grpSpMkLst>
            <pc:docMk/>
            <pc:sldMk cId="1215019427" sldId="349"/>
            <ac:grpSpMk id="93" creationId="{8B989D63-BF7E-400F-9069-F18965E4CA3A}"/>
          </ac:grpSpMkLst>
        </pc:grpChg>
        <pc:grpChg chg="mod">
          <ac:chgData name="Henry" userId="02f5dd7c-8d1c-42af-a438-3c1752a452dc" providerId="ADAL" clId="{5942D110-875B-42FB-AC8A-CA70EB9445B0}" dt="2020-11-15T15:17:17.720" v="1456"/>
          <ac:grpSpMkLst>
            <pc:docMk/>
            <pc:sldMk cId="1215019427" sldId="349"/>
            <ac:grpSpMk id="94" creationId="{A1F8ADCB-7B8D-4236-9DC3-96B99D81408D}"/>
          </ac:grpSpMkLst>
        </pc:grpChg>
        <pc:grpChg chg="add mod">
          <ac:chgData name="Henry" userId="02f5dd7c-8d1c-42af-a438-3c1752a452dc" providerId="ADAL" clId="{5942D110-875B-42FB-AC8A-CA70EB9445B0}" dt="2020-11-15T16:06:19.339" v="1650" actId="1076"/>
          <ac:grpSpMkLst>
            <pc:docMk/>
            <pc:sldMk cId="1215019427" sldId="349"/>
            <ac:grpSpMk id="102" creationId="{224A3C5B-24E6-419D-82B6-C7325C221EA1}"/>
          </ac:grpSpMkLst>
        </pc:grpChg>
        <pc:grpChg chg="add del mod">
          <ac:chgData name="Henry" userId="02f5dd7c-8d1c-42af-a438-3c1752a452dc" providerId="ADAL" clId="{5942D110-875B-42FB-AC8A-CA70EB9445B0}" dt="2020-11-15T15:17:30.360" v="1462" actId="478"/>
          <ac:grpSpMkLst>
            <pc:docMk/>
            <pc:sldMk cId="1215019427" sldId="349"/>
            <ac:grpSpMk id="108" creationId="{A2C74647-BEDB-4376-9D3E-C205DC929ED5}"/>
          </ac:grpSpMkLst>
        </pc:grpChg>
        <pc:grpChg chg="add del mod">
          <ac:chgData name="Henry" userId="02f5dd7c-8d1c-42af-a438-3c1752a452dc" providerId="ADAL" clId="{5942D110-875B-42FB-AC8A-CA70EB9445B0}" dt="2020-11-15T15:17:23.967" v="1458" actId="478"/>
          <ac:grpSpMkLst>
            <pc:docMk/>
            <pc:sldMk cId="1215019427" sldId="349"/>
            <ac:grpSpMk id="111" creationId="{6B360B7E-6568-4528-A615-9D32F69980C5}"/>
          </ac:grpSpMkLst>
        </pc:grpChg>
        <pc:grpChg chg="add del mod">
          <ac:chgData name="Henry" userId="02f5dd7c-8d1c-42af-a438-3c1752a452dc" providerId="ADAL" clId="{5942D110-875B-42FB-AC8A-CA70EB9445B0}" dt="2020-11-15T15:58:13.884" v="1572" actId="165"/>
          <ac:grpSpMkLst>
            <pc:docMk/>
            <pc:sldMk cId="1215019427" sldId="349"/>
            <ac:grpSpMk id="125" creationId="{AC52DDFB-40CA-4FF7-B88B-E0E504DC7F2B}"/>
          </ac:grpSpMkLst>
        </pc:grpChg>
        <pc:picChg chg="add del mod">
          <ac:chgData name="Henry" userId="02f5dd7c-8d1c-42af-a438-3c1752a452dc" providerId="ADAL" clId="{5942D110-875B-42FB-AC8A-CA70EB9445B0}" dt="2020-11-15T15:17:27.076" v="1461" actId="478"/>
          <ac:picMkLst>
            <pc:docMk/>
            <pc:sldMk cId="1215019427" sldId="349"/>
            <ac:picMk id="117" creationId="{96EF24D7-55CD-4B19-ABEB-3D781F4C3386}"/>
          </ac:picMkLst>
        </pc:picChg>
        <pc:cxnChg chg="mod">
          <ac:chgData name="Henry" userId="02f5dd7c-8d1c-42af-a438-3c1752a452dc" providerId="ADAL" clId="{5942D110-875B-42FB-AC8A-CA70EB9445B0}" dt="2020-11-15T14:55:45.546" v="1417" actId="478"/>
          <ac:cxnSpMkLst>
            <pc:docMk/>
            <pc:sldMk cId="1215019427" sldId="349"/>
            <ac:cxnSpMk id="26" creationId="{849D7FF5-C3D8-4B4B-8B3F-9955239A1044}"/>
          </ac:cxnSpMkLst>
        </pc:cxnChg>
        <pc:cxnChg chg="mod">
          <ac:chgData name="Henry" userId="02f5dd7c-8d1c-42af-a438-3c1752a452dc" providerId="ADAL" clId="{5942D110-875B-42FB-AC8A-CA70EB9445B0}" dt="2020-11-15T14:55:45.546" v="1417" actId="478"/>
          <ac:cxnSpMkLst>
            <pc:docMk/>
            <pc:sldMk cId="1215019427" sldId="349"/>
            <ac:cxnSpMk id="29" creationId="{27A2B6B5-2CEF-1949-A1CA-74086CE6DED2}"/>
          </ac:cxnSpMkLst>
        </pc:cxnChg>
        <pc:cxnChg chg="add del mod">
          <ac:chgData name="Henry" userId="02f5dd7c-8d1c-42af-a438-3c1752a452dc" providerId="ADAL" clId="{5942D110-875B-42FB-AC8A-CA70EB9445B0}" dt="2020-11-15T15:53:30.645" v="1464" actId="478"/>
          <ac:cxnSpMkLst>
            <pc:docMk/>
            <pc:sldMk cId="1215019427" sldId="349"/>
            <ac:cxnSpMk id="50" creationId="{798BC9A4-D974-4B7A-99FE-3F6CE79B18C9}"/>
          </ac:cxnSpMkLst>
        </pc:cxnChg>
        <pc:cxnChg chg="mod">
          <ac:chgData name="Henry" userId="02f5dd7c-8d1c-42af-a438-3c1752a452dc" providerId="ADAL" clId="{5942D110-875B-42FB-AC8A-CA70EB9445B0}" dt="2020-11-15T15:17:17.720" v="1456"/>
          <ac:cxnSpMkLst>
            <pc:docMk/>
            <pc:sldMk cId="1215019427" sldId="349"/>
            <ac:cxnSpMk id="57" creationId="{3C48ABE7-62E1-48AF-89DB-65159A67C4C6}"/>
          </ac:cxnSpMkLst>
        </pc:cxnChg>
        <pc:cxnChg chg="mod">
          <ac:chgData name="Henry" userId="02f5dd7c-8d1c-42af-a438-3c1752a452dc" providerId="ADAL" clId="{5942D110-875B-42FB-AC8A-CA70EB9445B0}" dt="2020-11-15T15:17:17.720" v="1456"/>
          <ac:cxnSpMkLst>
            <pc:docMk/>
            <pc:sldMk cId="1215019427" sldId="349"/>
            <ac:cxnSpMk id="58" creationId="{FE842139-362F-4DA3-B017-B94C31361C6E}"/>
          </ac:cxnSpMkLst>
        </pc:cxnChg>
        <pc:cxnChg chg="mod">
          <ac:chgData name="Henry" userId="02f5dd7c-8d1c-42af-a438-3c1752a452dc" providerId="ADAL" clId="{5942D110-875B-42FB-AC8A-CA70EB9445B0}" dt="2020-11-15T15:17:16.575" v="1455" actId="478"/>
          <ac:cxnSpMkLst>
            <pc:docMk/>
            <pc:sldMk cId="1215019427" sldId="349"/>
            <ac:cxnSpMk id="77" creationId="{8B442075-0DB6-AB40-A7AF-9FCE863CE526}"/>
          </ac:cxnSpMkLst>
        </pc:cxnChg>
        <pc:cxnChg chg="mod">
          <ac:chgData name="Henry" userId="02f5dd7c-8d1c-42af-a438-3c1752a452dc" providerId="ADAL" clId="{5942D110-875B-42FB-AC8A-CA70EB9445B0}" dt="2020-11-15T15:17:16.575" v="1455" actId="478"/>
          <ac:cxnSpMkLst>
            <pc:docMk/>
            <pc:sldMk cId="1215019427" sldId="349"/>
            <ac:cxnSpMk id="80" creationId="{4CC30704-E214-1346-B2F8-78D071E3A6FE}"/>
          </ac:cxnSpMkLst>
        </pc:cxnChg>
        <pc:cxnChg chg="mod">
          <ac:chgData name="Henry" userId="02f5dd7c-8d1c-42af-a438-3c1752a452dc" providerId="ADAL" clId="{5942D110-875B-42FB-AC8A-CA70EB9445B0}" dt="2020-11-15T15:17:17.720" v="1456"/>
          <ac:cxnSpMkLst>
            <pc:docMk/>
            <pc:sldMk cId="1215019427" sldId="349"/>
            <ac:cxnSpMk id="97" creationId="{C9B92B35-71AA-468D-81B5-0867B10A2CA6}"/>
          </ac:cxnSpMkLst>
        </pc:cxnChg>
        <pc:cxnChg chg="mod">
          <ac:chgData name="Henry" userId="02f5dd7c-8d1c-42af-a438-3c1752a452dc" providerId="ADAL" clId="{5942D110-875B-42FB-AC8A-CA70EB9445B0}" dt="2020-11-15T15:17:17.720" v="1456"/>
          <ac:cxnSpMkLst>
            <pc:docMk/>
            <pc:sldMk cId="1215019427" sldId="349"/>
            <ac:cxnSpMk id="98" creationId="{869056B7-BE7C-4C29-AC84-FDE42976EA2E}"/>
          </ac:cxnSpMkLst>
        </pc:cxnChg>
        <pc:cxnChg chg="mod">
          <ac:chgData name="Henry" userId="02f5dd7c-8d1c-42af-a438-3c1752a452dc" providerId="ADAL" clId="{5942D110-875B-42FB-AC8A-CA70EB9445B0}" dt="2020-11-15T15:17:17.720" v="1456"/>
          <ac:cxnSpMkLst>
            <pc:docMk/>
            <pc:sldMk cId="1215019427" sldId="349"/>
            <ac:cxnSpMk id="103" creationId="{435039FE-FC3F-4A6D-9DD2-F4312B4D80A3}"/>
          </ac:cxnSpMkLst>
        </pc:cxnChg>
        <pc:cxnChg chg="mod">
          <ac:chgData name="Henry" userId="02f5dd7c-8d1c-42af-a438-3c1752a452dc" providerId="ADAL" clId="{5942D110-875B-42FB-AC8A-CA70EB9445B0}" dt="2020-11-15T15:17:17.720" v="1456"/>
          <ac:cxnSpMkLst>
            <pc:docMk/>
            <pc:sldMk cId="1215019427" sldId="349"/>
            <ac:cxnSpMk id="104" creationId="{75E33A18-DF9B-425D-B502-E5CBAA41E06C}"/>
          </ac:cxnSpMkLst>
        </pc:cxnChg>
        <pc:cxnChg chg="add del mod">
          <ac:chgData name="Henry" userId="02f5dd7c-8d1c-42af-a438-3c1752a452dc" providerId="ADAL" clId="{5942D110-875B-42FB-AC8A-CA70EB9445B0}" dt="2020-11-15T15:53:29.641" v="1463" actId="478"/>
          <ac:cxnSpMkLst>
            <pc:docMk/>
            <pc:sldMk cId="1215019427" sldId="349"/>
            <ac:cxnSpMk id="107" creationId="{57198560-2510-411B-BA50-0F8E845D8DFD}"/>
          </ac:cxnSpMkLst>
        </pc:cxnChg>
        <pc:cxnChg chg="add mod">
          <ac:chgData name="Henry" userId="02f5dd7c-8d1c-42af-a438-3c1752a452dc" providerId="ADAL" clId="{5942D110-875B-42FB-AC8A-CA70EB9445B0}" dt="2020-11-15T16:06:19.339" v="1650" actId="1076"/>
          <ac:cxnSpMkLst>
            <pc:docMk/>
            <pc:sldMk cId="1215019427" sldId="349"/>
            <ac:cxnSpMk id="115" creationId="{EC834438-59BF-4BEB-8E7A-ADF86FACEA5D}"/>
          </ac:cxnSpMkLst>
        </pc:cxnChg>
        <pc:cxnChg chg="add mod">
          <ac:chgData name="Henry" userId="02f5dd7c-8d1c-42af-a438-3c1752a452dc" providerId="ADAL" clId="{5942D110-875B-42FB-AC8A-CA70EB9445B0}" dt="2020-11-15T16:06:19.339" v="1650" actId="1076"/>
          <ac:cxnSpMkLst>
            <pc:docMk/>
            <pc:sldMk cId="1215019427" sldId="349"/>
            <ac:cxnSpMk id="116" creationId="{538F2630-7F05-4CFF-BF17-32CDFF3D7E80}"/>
          </ac:cxnSpMkLst>
        </pc:cxnChg>
        <pc:cxnChg chg="mod topLvl">
          <ac:chgData name="Henry" userId="02f5dd7c-8d1c-42af-a438-3c1752a452dc" providerId="ADAL" clId="{5942D110-875B-42FB-AC8A-CA70EB9445B0}" dt="2020-11-15T15:58:53.196" v="1582" actId="164"/>
          <ac:cxnSpMkLst>
            <pc:docMk/>
            <pc:sldMk cId="1215019427" sldId="349"/>
            <ac:cxnSpMk id="126" creationId="{C3814365-EADC-4845-9351-9C16E5974009}"/>
          </ac:cxnSpMkLst>
        </pc:cxnChg>
        <pc:cxnChg chg="mod topLvl">
          <ac:chgData name="Henry" userId="02f5dd7c-8d1c-42af-a438-3c1752a452dc" providerId="ADAL" clId="{5942D110-875B-42FB-AC8A-CA70EB9445B0}" dt="2020-11-15T15:58:53.196" v="1582" actId="164"/>
          <ac:cxnSpMkLst>
            <pc:docMk/>
            <pc:sldMk cId="1215019427" sldId="349"/>
            <ac:cxnSpMk id="127" creationId="{099FCC69-2179-4B9D-B440-7438CD6C31D8}"/>
          </ac:cxnSpMkLst>
        </pc:cxnChg>
      </pc:sldChg>
      <pc:sldChg chg="addSp delSp modSp add mod modNotesTx">
        <pc:chgData name="Henry" userId="02f5dd7c-8d1c-42af-a438-3c1752a452dc" providerId="ADAL" clId="{5942D110-875B-42FB-AC8A-CA70EB9445B0}" dt="2020-11-19T16:27:54.153" v="12860" actId="20577"/>
        <pc:sldMkLst>
          <pc:docMk/>
          <pc:sldMk cId="4044565450" sldId="350"/>
        </pc:sldMkLst>
        <pc:spChg chg="mod">
          <ac:chgData name="Henry" userId="02f5dd7c-8d1c-42af-a438-3c1752a452dc" providerId="ADAL" clId="{5942D110-875B-42FB-AC8A-CA70EB9445B0}" dt="2020-11-15T16:29:47.140" v="2020" actId="1076"/>
          <ac:spMkLst>
            <pc:docMk/>
            <pc:sldMk cId="4044565450" sldId="350"/>
            <ac:spMk id="2" creationId="{3F62044A-0FD2-48A0-A969-AF8653966472}"/>
          </ac:spMkLst>
        </pc:spChg>
        <pc:spChg chg="del mod">
          <ac:chgData name="Henry" userId="02f5dd7c-8d1c-42af-a438-3c1752a452dc" providerId="ADAL" clId="{5942D110-875B-42FB-AC8A-CA70EB9445B0}" dt="2020-11-18T16:16:26.233" v="4412" actId="478"/>
          <ac:spMkLst>
            <pc:docMk/>
            <pc:sldMk cId="4044565450" sldId="350"/>
            <ac:spMk id="5" creationId="{F5E7AF60-05A5-E846-8FE2-463486EF3220}"/>
          </ac:spMkLst>
        </pc:spChg>
        <pc:spChg chg="add">
          <ac:chgData name="Henry" userId="02f5dd7c-8d1c-42af-a438-3c1752a452dc" providerId="ADAL" clId="{5942D110-875B-42FB-AC8A-CA70EB9445B0}" dt="2020-11-18T16:16:26.619" v="4413" actId="22"/>
          <ac:spMkLst>
            <pc:docMk/>
            <pc:sldMk cId="4044565450" sldId="350"/>
            <ac:spMk id="6" creationId="{F05F482A-D94A-46FA-A44D-1CB77BDCC0A0}"/>
          </ac:spMkLst>
        </pc:spChg>
        <pc:spChg chg="del">
          <ac:chgData name="Henry" userId="02f5dd7c-8d1c-42af-a438-3c1752a452dc" providerId="ADAL" clId="{5942D110-875B-42FB-AC8A-CA70EB9445B0}" dt="2020-11-15T16:28:31.589" v="2010" actId="478"/>
          <ac:spMkLst>
            <pc:docMk/>
            <pc:sldMk cId="4044565450" sldId="350"/>
            <ac:spMk id="7" creationId="{8E25744C-0848-4185-A12A-4A75879C21F0}"/>
          </ac:spMkLst>
        </pc:spChg>
        <pc:spChg chg="del">
          <ac:chgData name="Henry" userId="02f5dd7c-8d1c-42af-a438-3c1752a452dc" providerId="ADAL" clId="{5942D110-875B-42FB-AC8A-CA70EB9445B0}" dt="2020-11-15T16:28:31.589" v="2010" actId="478"/>
          <ac:spMkLst>
            <pc:docMk/>
            <pc:sldMk cId="4044565450" sldId="350"/>
            <ac:spMk id="8" creationId="{1BE19139-4214-4DE8-936D-EA7003CBC8CE}"/>
          </ac:spMkLst>
        </pc:spChg>
        <pc:spChg chg="del">
          <ac:chgData name="Henry" userId="02f5dd7c-8d1c-42af-a438-3c1752a452dc" providerId="ADAL" clId="{5942D110-875B-42FB-AC8A-CA70EB9445B0}" dt="2020-11-15T16:28:31.589" v="2010" actId="478"/>
          <ac:spMkLst>
            <pc:docMk/>
            <pc:sldMk cId="4044565450" sldId="350"/>
            <ac:spMk id="9" creationId="{BF548DC1-E4B9-458E-8C4B-C664A6CF52EA}"/>
          </ac:spMkLst>
        </pc:spChg>
        <pc:spChg chg="del">
          <ac:chgData name="Henry" userId="02f5dd7c-8d1c-42af-a438-3c1752a452dc" providerId="ADAL" clId="{5942D110-875B-42FB-AC8A-CA70EB9445B0}" dt="2020-11-15T16:28:31.589" v="2010" actId="478"/>
          <ac:spMkLst>
            <pc:docMk/>
            <pc:sldMk cId="4044565450" sldId="350"/>
            <ac:spMk id="11" creationId="{42C2E51F-4755-4E5F-8D07-E6D3ABEAE61C}"/>
          </ac:spMkLst>
        </pc:spChg>
        <pc:spChg chg="del">
          <ac:chgData name="Henry" userId="02f5dd7c-8d1c-42af-a438-3c1752a452dc" providerId="ADAL" clId="{5942D110-875B-42FB-AC8A-CA70EB9445B0}" dt="2020-11-15T16:28:31.589" v="2010" actId="478"/>
          <ac:spMkLst>
            <pc:docMk/>
            <pc:sldMk cId="4044565450" sldId="350"/>
            <ac:spMk id="14" creationId="{90FBB6C1-490A-4467-BECE-A9AEC99A9156}"/>
          </ac:spMkLst>
        </pc:spChg>
        <pc:spChg chg="del">
          <ac:chgData name="Henry" userId="02f5dd7c-8d1c-42af-a438-3c1752a452dc" providerId="ADAL" clId="{5942D110-875B-42FB-AC8A-CA70EB9445B0}" dt="2020-11-15T16:28:31.589" v="2010" actId="478"/>
          <ac:spMkLst>
            <pc:docMk/>
            <pc:sldMk cId="4044565450" sldId="350"/>
            <ac:spMk id="15" creationId="{C8490441-E494-4BD5-AE11-469727E2824E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51" creationId="{C8A3F813-26E1-4298-9C30-A18E79F711C7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53" creationId="{8F98B5FE-56CC-4B45-9A2B-CB18D84C08AC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64" creationId="{1DDEB692-E099-45E4-A6B3-F112C85BA434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65" creationId="{D145A97C-1FBC-4F5B-BF25-97FEBD142C37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66" creationId="{3190C422-E0BB-473B-8884-5BF14B50E06F}"/>
          </ac:spMkLst>
        </pc:spChg>
        <pc:spChg chg="add del mod">
          <ac:chgData name="Henry" userId="02f5dd7c-8d1c-42af-a438-3c1752a452dc" providerId="ADAL" clId="{5942D110-875B-42FB-AC8A-CA70EB9445B0}" dt="2020-11-15T16:28:30.202" v="2009"/>
          <ac:spMkLst>
            <pc:docMk/>
            <pc:sldMk cId="4044565450" sldId="350"/>
            <ac:spMk id="67" creationId="{DF349A63-E12D-4470-9C19-761CE0E655B7}"/>
          </ac:spMkLst>
        </pc:spChg>
        <pc:spChg chg="add del mod">
          <ac:chgData name="Henry" userId="02f5dd7c-8d1c-42af-a438-3c1752a452dc" providerId="ADAL" clId="{5942D110-875B-42FB-AC8A-CA70EB9445B0}" dt="2020-11-15T16:28:30.202" v="2009"/>
          <ac:spMkLst>
            <pc:docMk/>
            <pc:sldMk cId="4044565450" sldId="350"/>
            <ac:spMk id="68" creationId="{BDEECC70-0015-4965-82BF-F09C1DD69488}"/>
          </ac:spMkLst>
        </pc:spChg>
        <pc:spChg chg="add del mod">
          <ac:chgData name="Henry" userId="02f5dd7c-8d1c-42af-a438-3c1752a452dc" providerId="ADAL" clId="{5942D110-875B-42FB-AC8A-CA70EB9445B0}" dt="2020-11-15T16:28:30.202" v="2009"/>
          <ac:spMkLst>
            <pc:docMk/>
            <pc:sldMk cId="4044565450" sldId="350"/>
            <ac:spMk id="69" creationId="{B9AA6325-BE36-4B1D-B3E1-6522B5D8E3E6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72" creationId="{3AD5DB3D-556D-44D6-87DC-47FA88E524AF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73" creationId="{B5D1D91C-D58D-40A6-9D81-F0CAA16C31F6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76" creationId="{837E94E3-DBF0-4A21-829C-6B505812F529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77" creationId="{FE114CAE-6E3D-4FBE-9AC2-2BF1794113EF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78" creationId="{54D09B7F-1715-4D05-95E0-9618010DB771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82" creationId="{8BF500AE-1A18-4888-AA05-24A6EF6AE68E}"/>
          </ac:spMkLst>
        </pc:spChg>
        <pc:spChg chg="add del mod">
          <ac:chgData name="Henry" userId="02f5dd7c-8d1c-42af-a438-3c1752a452dc" providerId="ADAL" clId="{5942D110-875B-42FB-AC8A-CA70EB9445B0}" dt="2020-11-15T16:28:30.202" v="2009"/>
          <ac:spMkLst>
            <pc:docMk/>
            <pc:sldMk cId="4044565450" sldId="350"/>
            <ac:spMk id="83" creationId="{7D164500-CF3C-40C0-8949-8C2B06CFF1DE}"/>
          </ac:spMkLst>
        </pc:spChg>
        <pc:spChg chg="del">
          <ac:chgData name="Henry" userId="02f5dd7c-8d1c-42af-a438-3c1752a452dc" providerId="ADAL" clId="{5942D110-875B-42FB-AC8A-CA70EB9445B0}" dt="2020-11-15T16:28:31.589" v="2010" actId="478"/>
          <ac:spMkLst>
            <pc:docMk/>
            <pc:sldMk cId="4044565450" sldId="350"/>
            <ac:spMk id="85" creationId="{395F1F60-D0A1-40E3-B05E-73D8BC375572}"/>
          </ac:spMkLst>
        </pc:spChg>
        <pc:spChg chg="del">
          <ac:chgData name="Henry" userId="02f5dd7c-8d1c-42af-a438-3c1752a452dc" providerId="ADAL" clId="{5942D110-875B-42FB-AC8A-CA70EB9445B0}" dt="2020-11-15T16:28:31.589" v="2010" actId="478"/>
          <ac:spMkLst>
            <pc:docMk/>
            <pc:sldMk cId="4044565450" sldId="350"/>
            <ac:spMk id="86" creationId="{8A2A3A87-710C-4AB9-A68E-AB7F551931C9}"/>
          </ac:spMkLst>
        </pc:spChg>
        <pc:spChg chg="del">
          <ac:chgData name="Henry" userId="02f5dd7c-8d1c-42af-a438-3c1752a452dc" providerId="ADAL" clId="{5942D110-875B-42FB-AC8A-CA70EB9445B0}" dt="2020-11-15T16:28:31.589" v="2010" actId="478"/>
          <ac:spMkLst>
            <pc:docMk/>
            <pc:sldMk cId="4044565450" sldId="350"/>
            <ac:spMk id="88" creationId="{A71803E6-42DB-43F4-9777-7BF145F8A0AE}"/>
          </ac:spMkLst>
        </pc:spChg>
        <pc:spChg chg="mod">
          <ac:chgData name="Henry" userId="02f5dd7c-8d1c-42af-a438-3c1752a452dc" providerId="ADAL" clId="{5942D110-875B-42FB-AC8A-CA70EB9445B0}" dt="2020-11-18T17:40:11.188" v="4872" actId="20577"/>
          <ac:spMkLst>
            <pc:docMk/>
            <pc:sldMk cId="4044565450" sldId="350"/>
            <ac:spMk id="91" creationId="{248BB64A-2681-154D-A068-C8F7AB789180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92" creationId="{FB4BD31F-8F90-448B-9CB1-BAD2E851CD9F}"/>
          </ac:spMkLst>
        </pc:spChg>
        <pc:spChg chg="del">
          <ac:chgData name="Henry" userId="02f5dd7c-8d1c-42af-a438-3c1752a452dc" providerId="ADAL" clId="{5942D110-875B-42FB-AC8A-CA70EB9445B0}" dt="2020-11-15T16:28:31.589" v="2010" actId="478"/>
          <ac:spMkLst>
            <pc:docMk/>
            <pc:sldMk cId="4044565450" sldId="350"/>
            <ac:spMk id="106" creationId="{3CF05F07-1C5A-4B3E-993B-7F82D9F47156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07" creationId="{E91B2513-C424-4724-A0E9-AAD1AC693CC1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09" creationId="{98AFB526-9572-47AC-9E1D-0DE51C134E47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10" creationId="{747351FA-71A4-4584-991B-5A0956D00D2D}"/>
          </ac:spMkLst>
        </pc:spChg>
        <pc:spChg chg="add del mod">
          <ac:chgData name="Henry" userId="02f5dd7c-8d1c-42af-a438-3c1752a452dc" providerId="ADAL" clId="{5942D110-875B-42FB-AC8A-CA70EB9445B0}" dt="2020-11-15T16:28:30.202" v="2009"/>
          <ac:spMkLst>
            <pc:docMk/>
            <pc:sldMk cId="4044565450" sldId="350"/>
            <ac:spMk id="112" creationId="{427AADF1-475D-44D5-8F45-4D56950B8767}"/>
          </ac:spMkLst>
        </pc:spChg>
        <pc:spChg chg="del">
          <ac:chgData name="Henry" userId="02f5dd7c-8d1c-42af-a438-3c1752a452dc" providerId="ADAL" clId="{5942D110-875B-42FB-AC8A-CA70EB9445B0}" dt="2020-11-15T16:28:31.589" v="2010" actId="478"/>
          <ac:spMkLst>
            <pc:docMk/>
            <pc:sldMk cId="4044565450" sldId="350"/>
            <ac:spMk id="114" creationId="{312C01B8-3A07-47A2-98E2-8EAA131E46F0}"/>
          </ac:spMkLst>
        </pc:spChg>
        <pc:spChg chg="add del mod">
          <ac:chgData name="Henry" userId="02f5dd7c-8d1c-42af-a438-3c1752a452dc" providerId="ADAL" clId="{5942D110-875B-42FB-AC8A-CA70EB9445B0}" dt="2020-11-15T16:28:30.202" v="2009"/>
          <ac:spMkLst>
            <pc:docMk/>
            <pc:sldMk cId="4044565450" sldId="350"/>
            <ac:spMk id="118" creationId="{BE02767E-AC53-4CE6-811C-24D3713C29C6}"/>
          </ac:spMkLst>
        </pc:spChg>
        <pc:spChg chg="add del mod">
          <ac:chgData name="Henry" userId="02f5dd7c-8d1c-42af-a438-3c1752a452dc" providerId="ADAL" clId="{5942D110-875B-42FB-AC8A-CA70EB9445B0}" dt="2020-11-15T16:28:30.202" v="2009"/>
          <ac:spMkLst>
            <pc:docMk/>
            <pc:sldMk cId="4044565450" sldId="350"/>
            <ac:spMk id="119" creationId="{F5AE6DDA-D58E-4D99-ADD4-38472E2E1B50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22" creationId="{F9797F3B-5E78-4A79-9877-BD16C0EF2B66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23" creationId="{AC90F14F-1113-4182-AA15-4D2BEA3A04E4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30" creationId="{9EF24644-C4C3-4CE9-98A6-47B9F0304952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31" creationId="{17DA3819-6A07-4251-93CA-07EDDAF5D78F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32" creationId="{1A15F4CD-3CF9-4F01-AF45-3EB3732D8488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36" creationId="{AEE691CD-4C7D-4E04-8372-118AB7236A5B}"/>
          </ac:spMkLst>
        </pc:spChg>
        <pc:spChg chg="add del mod">
          <ac:chgData name="Henry" userId="02f5dd7c-8d1c-42af-a438-3c1752a452dc" providerId="ADAL" clId="{5942D110-875B-42FB-AC8A-CA70EB9445B0}" dt="2020-11-15T16:28:30.202" v="2009"/>
          <ac:spMkLst>
            <pc:docMk/>
            <pc:sldMk cId="4044565450" sldId="350"/>
            <ac:spMk id="137" creationId="{52CC8206-42B4-4A16-9B9B-FFEED32FC93F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40" creationId="{C9B2DDA9-E55E-4057-9006-16AC25420EBC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41" creationId="{FEDB5B7A-CC4F-482B-AF3E-421E5BC67F45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45" creationId="{27C33ECD-DEF8-4B26-82FA-8F28889101E9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46" creationId="{A02A76ED-ADE8-4CC8-BA37-152702A9573E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49" creationId="{18433E1D-61BE-428D-9A73-BCAB31C7FF2F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52" creationId="{4A47A579-D41E-4D2F-BC2A-DA63BC829A38}"/>
          </ac:spMkLst>
        </pc:spChg>
        <pc:spChg chg="add del mod">
          <ac:chgData name="Henry" userId="02f5dd7c-8d1c-42af-a438-3c1752a452dc" providerId="ADAL" clId="{5942D110-875B-42FB-AC8A-CA70EB9445B0}" dt="2020-11-15T16:28:30.202" v="2009"/>
          <ac:spMkLst>
            <pc:docMk/>
            <pc:sldMk cId="4044565450" sldId="350"/>
            <ac:spMk id="153" creationId="{3F828D44-1124-41B4-9EAA-985EC56DD946}"/>
          </ac:spMkLst>
        </pc:spChg>
        <pc:spChg chg="add del mod">
          <ac:chgData name="Henry" userId="02f5dd7c-8d1c-42af-a438-3c1752a452dc" providerId="ADAL" clId="{5942D110-875B-42FB-AC8A-CA70EB9445B0}" dt="2020-11-15T16:28:30.202" v="2009"/>
          <ac:spMkLst>
            <pc:docMk/>
            <pc:sldMk cId="4044565450" sldId="350"/>
            <ac:spMk id="154" creationId="{A2CFEC2F-BBD7-44CC-BF00-E4C3A1902087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57" creationId="{DD08579C-1AB1-4AF1-A5B2-C308B0141D1D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58" creationId="{2C016E02-57C3-474F-BE84-F785C9E48C23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61" creationId="{38CFF249-1A18-450F-89D9-F16EFC89C3DF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62" creationId="{D7936F20-8662-494F-9EEC-4DCB122AC3F2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63" creationId="{96D62A63-7A2F-43A3-BB19-D7A1EEC88F7D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66" creationId="{ED7154EC-CAFC-404F-A85D-56998EB23F76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69" creationId="{F82BC8A0-FC59-4B1F-9300-156E6F77A3D4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72" creationId="{69CBC2A1-A8F3-47D7-B47A-1B0E66F51CA1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75" creationId="{F8CD81BA-B3AE-470A-9E4D-0A28C23AD70F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78" creationId="{803B4C79-296C-4F82-85D4-B0B6E4EC8324}"/>
          </ac:spMkLst>
        </pc:spChg>
        <pc:spChg chg="mod">
          <ac:chgData name="Henry" userId="02f5dd7c-8d1c-42af-a438-3c1752a452dc" providerId="ADAL" clId="{5942D110-875B-42FB-AC8A-CA70EB9445B0}" dt="2020-11-15T16:28:28.254" v="2008"/>
          <ac:spMkLst>
            <pc:docMk/>
            <pc:sldMk cId="4044565450" sldId="350"/>
            <ac:spMk id="179" creationId="{9DD3D3F1-30FD-49F4-ABB5-714B0914647D}"/>
          </ac:spMkLst>
        </pc:spChg>
        <pc:spChg chg="add del mod">
          <ac:chgData name="Henry" userId="02f5dd7c-8d1c-42af-a438-3c1752a452dc" providerId="ADAL" clId="{5942D110-875B-42FB-AC8A-CA70EB9445B0}" dt="2020-11-15T16:28:30.202" v="2009"/>
          <ac:spMkLst>
            <pc:docMk/>
            <pc:sldMk cId="4044565450" sldId="350"/>
            <ac:spMk id="181" creationId="{434EFBAC-26E0-41CE-8DAB-0988EFBCE7E2}"/>
          </ac:spMkLst>
        </pc:spChg>
        <pc:spChg chg="add del mod">
          <ac:chgData name="Henry" userId="02f5dd7c-8d1c-42af-a438-3c1752a452dc" providerId="ADAL" clId="{5942D110-875B-42FB-AC8A-CA70EB9445B0}" dt="2020-11-15T16:28:30.202" v="2009"/>
          <ac:spMkLst>
            <pc:docMk/>
            <pc:sldMk cId="4044565450" sldId="350"/>
            <ac:spMk id="182" creationId="{163B2033-EAC5-493C-905E-9FE68CEA64EE}"/>
          </ac:spMkLst>
        </pc:spChg>
        <pc:spChg chg="add del mod">
          <ac:chgData name="Henry" userId="02f5dd7c-8d1c-42af-a438-3c1752a452dc" providerId="ADAL" clId="{5942D110-875B-42FB-AC8A-CA70EB9445B0}" dt="2020-11-15T16:28:30.202" v="2009"/>
          <ac:spMkLst>
            <pc:docMk/>
            <pc:sldMk cId="4044565450" sldId="350"/>
            <ac:spMk id="183" creationId="{06F5788F-22A5-4BA0-BFF9-0AE5B1BFAF1A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187" creationId="{291B2EE0-A146-4423-B2C2-F49E1325B727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188" creationId="{05CE123E-5D46-4798-BC73-8192FEAEB677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191" creationId="{83F0333A-AEB1-421C-8BC0-0A43CED239D2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192" creationId="{C52EB0DE-BAD6-41AB-BCBA-F6294BB768B5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193" creationId="{784380AC-13A4-49D5-B840-AF0CFE43748C}"/>
          </ac:spMkLst>
        </pc:spChg>
        <pc:spChg chg="add mod">
          <ac:chgData name="Henry" userId="02f5dd7c-8d1c-42af-a438-3c1752a452dc" providerId="ADAL" clId="{5942D110-875B-42FB-AC8A-CA70EB9445B0}" dt="2020-11-15T16:30:24.443" v="2025" actId="1076"/>
          <ac:spMkLst>
            <pc:docMk/>
            <pc:sldMk cId="4044565450" sldId="350"/>
            <ac:spMk id="194" creationId="{E0819E7D-004E-4A66-BB28-432D755108C0}"/>
          </ac:spMkLst>
        </pc:spChg>
        <pc:spChg chg="add mod">
          <ac:chgData name="Henry" userId="02f5dd7c-8d1c-42af-a438-3c1752a452dc" providerId="ADAL" clId="{5942D110-875B-42FB-AC8A-CA70EB9445B0}" dt="2020-11-15T16:30:24.443" v="2025" actId="1076"/>
          <ac:spMkLst>
            <pc:docMk/>
            <pc:sldMk cId="4044565450" sldId="350"/>
            <ac:spMk id="195" creationId="{A1C5730B-BBEA-4E55-A968-B505143430FC}"/>
          </ac:spMkLst>
        </pc:spChg>
        <pc:spChg chg="add mod">
          <ac:chgData name="Henry" userId="02f5dd7c-8d1c-42af-a438-3c1752a452dc" providerId="ADAL" clId="{5942D110-875B-42FB-AC8A-CA70EB9445B0}" dt="2020-11-15T16:30:24.443" v="2025" actId="1076"/>
          <ac:spMkLst>
            <pc:docMk/>
            <pc:sldMk cId="4044565450" sldId="350"/>
            <ac:spMk id="196" creationId="{24D9371E-2990-4D0D-83F4-606EC634D193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199" creationId="{2DD9E41F-A7BC-45EA-BF0F-34514698E425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00" creationId="{0A3875DA-EA05-45A4-8C49-262E2255235F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03" creationId="{26546D68-E7C7-4738-874E-14BF80ECA344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04" creationId="{2CA6A6AF-9CF7-49B1-B4AC-FFCF13EAF29F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05" creationId="{2EF4185F-319D-4498-B3BC-41F890FFA42D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09" creationId="{D1CA1B4D-AEF0-4EB5-A422-D270A08899B8}"/>
          </ac:spMkLst>
        </pc:spChg>
        <pc:spChg chg="add mod">
          <ac:chgData name="Henry" userId="02f5dd7c-8d1c-42af-a438-3c1752a452dc" providerId="ADAL" clId="{5942D110-875B-42FB-AC8A-CA70EB9445B0}" dt="2020-11-15T16:30:24.443" v="2025" actId="1076"/>
          <ac:spMkLst>
            <pc:docMk/>
            <pc:sldMk cId="4044565450" sldId="350"/>
            <ac:spMk id="210" creationId="{E44B223A-1A90-44DB-BE70-309C23F3ECE0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13" creationId="{30F5DAC1-BAA0-49D7-B066-D67A390DBE2C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14" creationId="{887F342A-D213-41C2-81C4-D68B6F88F0EA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16" creationId="{9295A260-72BE-44FF-94CF-D374756B0697}"/>
          </ac:spMkLst>
        </pc:spChg>
        <pc:spChg chg="mod">
          <ac:chgData name="Henry" userId="02f5dd7c-8d1c-42af-a438-3c1752a452dc" providerId="ADAL" clId="{5942D110-875B-42FB-AC8A-CA70EB9445B0}" dt="2020-11-15T16:30:55.553" v="2026" actId="14100"/>
          <ac:spMkLst>
            <pc:docMk/>
            <pc:sldMk cId="4044565450" sldId="350"/>
            <ac:spMk id="217" creationId="{F7A44333-B86C-423F-BCA9-4951D8397ABF}"/>
          </ac:spMkLst>
        </pc:spChg>
        <pc:spChg chg="add mod">
          <ac:chgData name="Henry" userId="02f5dd7c-8d1c-42af-a438-3c1752a452dc" providerId="ADAL" clId="{5942D110-875B-42FB-AC8A-CA70EB9445B0}" dt="2020-11-15T16:30:24.443" v="2025" actId="1076"/>
          <ac:spMkLst>
            <pc:docMk/>
            <pc:sldMk cId="4044565450" sldId="350"/>
            <ac:spMk id="219" creationId="{C422C084-C05C-488D-B178-63BCE321DF8B}"/>
          </ac:spMkLst>
        </pc:spChg>
        <pc:spChg chg="add mod">
          <ac:chgData name="Henry" userId="02f5dd7c-8d1c-42af-a438-3c1752a452dc" providerId="ADAL" clId="{5942D110-875B-42FB-AC8A-CA70EB9445B0}" dt="2020-11-15T16:30:17.754" v="2024" actId="1076"/>
          <ac:spMkLst>
            <pc:docMk/>
            <pc:sldMk cId="4044565450" sldId="350"/>
            <ac:spMk id="222" creationId="{E643EFC5-24EF-4652-8EB5-C3FA8BDC50AA}"/>
          </ac:spMkLst>
        </pc:spChg>
        <pc:spChg chg="add mod">
          <ac:chgData name="Henry" userId="02f5dd7c-8d1c-42af-a438-3c1752a452dc" providerId="ADAL" clId="{5942D110-875B-42FB-AC8A-CA70EB9445B0}" dt="2020-11-15T16:30:17.754" v="2024" actId="1076"/>
          <ac:spMkLst>
            <pc:docMk/>
            <pc:sldMk cId="4044565450" sldId="350"/>
            <ac:spMk id="223" creationId="{671C3BC2-31D6-44DE-9263-54B2CB412431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26" creationId="{99BF6D5A-C2D3-4303-AABE-6C0DF8B806BE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27" creationId="{9C13E9B6-71B0-47BD-8302-97440B48B4EF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30" creationId="{9B214F4D-8FB2-40FD-8580-5F4E18BB64AE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31" creationId="{F517BB80-AE0A-4CD4-8085-97E6720401A8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32" creationId="{C9530A85-D99D-489D-A017-1C5F4AB4184A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36" creationId="{97BFD6C3-C47C-4319-BB87-662D1ECD64DE}"/>
          </ac:spMkLst>
        </pc:spChg>
        <pc:spChg chg="add mod">
          <ac:chgData name="Henry" userId="02f5dd7c-8d1c-42af-a438-3c1752a452dc" providerId="ADAL" clId="{5942D110-875B-42FB-AC8A-CA70EB9445B0}" dt="2020-11-15T16:30:17.754" v="2024" actId="1076"/>
          <ac:spMkLst>
            <pc:docMk/>
            <pc:sldMk cId="4044565450" sldId="350"/>
            <ac:spMk id="237" creationId="{9CAE4A56-614D-43D2-B766-73C1597143A2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40" creationId="{7B70FBF0-801A-47DD-AFDD-0E689CBA2B53}"/>
          </ac:spMkLst>
        </pc:spChg>
        <pc:spChg chg="mod">
          <ac:chgData name="Henry" userId="02f5dd7c-8d1c-42af-a438-3c1752a452dc" providerId="ADAL" clId="{5942D110-875B-42FB-AC8A-CA70EB9445B0}" dt="2020-11-15T16:31:33.713" v="2031" actId="14100"/>
          <ac:spMkLst>
            <pc:docMk/>
            <pc:sldMk cId="4044565450" sldId="350"/>
            <ac:spMk id="241" creationId="{E45F8888-8D01-443C-9F33-CED14C53D0B3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45" creationId="{BB505F0F-B165-4160-A0F3-22246F198663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46" creationId="{6B57CDBD-7767-464B-B915-EBFCE6D92196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49" creationId="{69ACFD14-4CF0-4A34-B99B-527AFB18D8D3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52" creationId="{5489491A-18BD-4B54-B1C1-C8982D19568F}"/>
          </ac:spMkLst>
        </pc:spChg>
        <pc:spChg chg="add mod">
          <ac:chgData name="Henry" userId="02f5dd7c-8d1c-42af-a438-3c1752a452dc" providerId="ADAL" clId="{5942D110-875B-42FB-AC8A-CA70EB9445B0}" dt="2020-11-15T16:29:39.851" v="2017" actId="1076"/>
          <ac:spMkLst>
            <pc:docMk/>
            <pc:sldMk cId="4044565450" sldId="350"/>
            <ac:spMk id="253" creationId="{F50486E4-5D0E-4143-AD84-8970939C074E}"/>
          </ac:spMkLst>
        </pc:spChg>
        <pc:spChg chg="add mod">
          <ac:chgData name="Henry" userId="02f5dd7c-8d1c-42af-a438-3c1752a452dc" providerId="ADAL" clId="{5942D110-875B-42FB-AC8A-CA70EB9445B0}" dt="2020-11-15T16:29:39.851" v="2017" actId="1076"/>
          <ac:spMkLst>
            <pc:docMk/>
            <pc:sldMk cId="4044565450" sldId="350"/>
            <ac:spMk id="254" creationId="{B38C55F2-FBE0-4484-B65C-C6E81FF70B2E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57" creationId="{9166C1E4-AF1B-40C7-95C1-CA7FBDD87375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58" creationId="{3FED9470-212D-4CF7-9D25-9E060BF522FF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61" creationId="{67B9CF15-09E0-4494-AE5F-EAAD797438CA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62" creationId="{812B9E4A-323B-4B2D-889E-762C3B86AB75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63" creationId="{038EAC14-870B-46BB-9D73-EC6258C04E71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66" creationId="{F971F5DA-CFBB-401A-9564-7294861EEBB2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69" creationId="{4ED2F0BC-E8AA-4DB0-A914-910D2F754382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72" creationId="{5580C3E3-E09B-478C-813D-CC394891DE37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75" creationId="{86649864-E06D-4FD9-BD73-F9DA2EF7B394}"/>
          </ac:spMkLst>
        </pc:spChg>
        <pc:spChg chg="mod">
          <ac:chgData name="Henry" userId="02f5dd7c-8d1c-42af-a438-3c1752a452dc" providerId="ADAL" clId="{5942D110-875B-42FB-AC8A-CA70EB9445B0}" dt="2020-11-15T16:28:32.402" v="2011"/>
          <ac:spMkLst>
            <pc:docMk/>
            <pc:sldMk cId="4044565450" sldId="350"/>
            <ac:spMk id="278" creationId="{243000E5-88C9-4993-8E68-B262AEE49A13}"/>
          </ac:spMkLst>
        </pc:spChg>
        <pc:spChg chg="mod">
          <ac:chgData name="Henry" userId="02f5dd7c-8d1c-42af-a438-3c1752a452dc" providerId="ADAL" clId="{5942D110-875B-42FB-AC8A-CA70EB9445B0}" dt="2020-11-15T16:31:53.248" v="2037" actId="14100"/>
          <ac:spMkLst>
            <pc:docMk/>
            <pc:sldMk cId="4044565450" sldId="350"/>
            <ac:spMk id="279" creationId="{1D214E84-49CD-4144-9104-962A473049F8}"/>
          </ac:spMkLst>
        </pc:spChg>
        <pc:spChg chg="add mod">
          <ac:chgData name="Henry" userId="02f5dd7c-8d1c-42af-a438-3c1752a452dc" providerId="ADAL" clId="{5942D110-875B-42FB-AC8A-CA70EB9445B0}" dt="2020-11-15T16:30:24.443" v="2025" actId="1076"/>
          <ac:spMkLst>
            <pc:docMk/>
            <pc:sldMk cId="4044565450" sldId="350"/>
            <ac:spMk id="281" creationId="{7E3EA37E-88D4-4A54-A7A3-130EB16F4DB9}"/>
          </ac:spMkLst>
        </pc:spChg>
        <pc:spChg chg="add mod">
          <ac:chgData name="Henry" userId="02f5dd7c-8d1c-42af-a438-3c1752a452dc" providerId="ADAL" clId="{5942D110-875B-42FB-AC8A-CA70EB9445B0}" dt="2020-11-15T16:30:17.754" v="2024" actId="1076"/>
          <ac:spMkLst>
            <pc:docMk/>
            <pc:sldMk cId="4044565450" sldId="350"/>
            <ac:spMk id="282" creationId="{FC89D62E-DAA2-46F0-9727-CAF4FAA67E59}"/>
          </ac:spMkLst>
        </pc:spChg>
        <pc:spChg chg="add mod">
          <ac:chgData name="Henry" userId="02f5dd7c-8d1c-42af-a438-3c1752a452dc" providerId="ADAL" clId="{5942D110-875B-42FB-AC8A-CA70EB9445B0}" dt="2020-11-15T16:29:39.851" v="2017" actId="1076"/>
          <ac:spMkLst>
            <pc:docMk/>
            <pc:sldMk cId="4044565450" sldId="350"/>
            <ac:spMk id="283" creationId="{3943DEE4-475C-4831-A3E9-27C136E3AF3B}"/>
          </ac:spMkLst>
        </pc:spChg>
        <pc:spChg chg="mod">
          <ac:chgData name="Henry" userId="02f5dd7c-8d1c-42af-a438-3c1752a452dc" providerId="ADAL" clId="{5942D110-875B-42FB-AC8A-CA70EB9445B0}" dt="2020-11-15T16:31:16.671" v="2028"/>
          <ac:spMkLst>
            <pc:docMk/>
            <pc:sldMk cId="4044565450" sldId="350"/>
            <ac:spMk id="286" creationId="{17B9B0D7-0F90-4C5E-8820-4C12C8272099}"/>
          </ac:spMkLst>
        </pc:spChg>
        <pc:spChg chg="mod">
          <ac:chgData name="Henry" userId="02f5dd7c-8d1c-42af-a438-3c1752a452dc" providerId="ADAL" clId="{5942D110-875B-42FB-AC8A-CA70EB9445B0}" dt="2020-11-15T16:31:24.233" v="2030" actId="14100"/>
          <ac:spMkLst>
            <pc:docMk/>
            <pc:sldMk cId="4044565450" sldId="350"/>
            <ac:spMk id="287" creationId="{4747D99B-24AA-42E2-81A6-DCEEEEA48C5A}"/>
          </ac:spMkLst>
        </pc:spChg>
        <pc:grpChg chg="del">
          <ac:chgData name="Henry" userId="02f5dd7c-8d1c-42af-a438-3c1752a452dc" providerId="ADAL" clId="{5942D110-875B-42FB-AC8A-CA70EB9445B0}" dt="2020-11-15T16:28:31.589" v="2010" actId="478"/>
          <ac:grpSpMkLst>
            <pc:docMk/>
            <pc:sldMk cId="4044565450" sldId="350"/>
            <ac:grpSpMk id="13" creationId="{79181B45-51AE-49EE-8DFC-035AD1BE4F0A}"/>
          </ac:grpSpMkLst>
        </pc:grpChg>
        <pc:grpChg chg="add del mod">
          <ac:chgData name="Henry" userId="02f5dd7c-8d1c-42af-a438-3c1752a452dc" providerId="ADAL" clId="{5942D110-875B-42FB-AC8A-CA70EB9445B0}" dt="2020-11-15T16:28:30.202" v="2009"/>
          <ac:grpSpMkLst>
            <pc:docMk/>
            <pc:sldMk cId="4044565450" sldId="350"/>
            <ac:grpSpMk id="49" creationId="{02EDA31E-BEFE-472C-B895-48399B706C0C}"/>
          </ac:grpSpMkLst>
        </pc:grpChg>
        <pc:grpChg chg="mod">
          <ac:chgData name="Henry" userId="02f5dd7c-8d1c-42af-a438-3c1752a452dc" providerId="ADAL" clId="{5942D110-875B-42FB-AC8A-CA70EB9445B0}" dt="2020-11-15T16:28:28.254" v="2008"/>
          <ac:grpSpMkLst>
            <pc:docMk/>
            <pc:sldMk cId="4044565450" sldId="350"/>
            <ac:grpSpMk id="50" creationId="{1F152369-E8FC-4DE6-9DB5-9A6872DCB405}"/>
          </ac:grpSpMkLst>
        </pc:grpChg>
        <pc:grpChg chg="del">
          <ac:chgData name="Henry" userId="02f5dd7c-8d1c-42af-a438-3c1752a452dc" providerId="ADAL" clId="{5942D110-875B-42FB-AC8A-CA70EB9445B0}" dt="2020-11-15T16:28:31.589" v="2010" actId="478"/>
          <ac:grpSpMkLst>
            <pc:docMk/>
            <pc:sldMk cId="4044565450" sldId="350"/>
            <ac:grpSpMk id="52" creationId="{278403BF-543B-46AB-A821-FE0CCBB9EB58}"/>
          </ac:grpSpMkLst>
        </pc:grpChg>
        <pc:grpChg chg="add del mod">
          <ac:chgData name="Henry" userId="02f5dd7c-8d1c-42af-a438-3c1752a452dc" providerId="ADAL" clId="{5942D110-875B-42FB-AC8A-CA70EB9445B0}" dt="2020-11-15T16:28:30.202" v="2009"/>
          <ac:grpSpMkLst>
            <pc:docMk/>
            <pc:sldMk cId="4044565450" sldId="350"/>
            <ac:grpSpMk id="70" creationId="{48EA02DD-DC27-4888-96DD-1CCE5359260C}"/>
          </ac:grpSpMkLst>
        </pc:grpChg>
        <pc:grpChg chg="mod">
          <ac:chgData name="Henry" userId="02f5dd7c-8d1c-42af-a438-3c1752a452dc" providerId="ADAL" clId="{5942D110-875B-42FB-AC8A-CA70EB9445B0}" dt="2020-11-15T16:28:28.254" v="2008"/>
          <ac:grpSpMkLst>
            <pc:docMk/>
            <pc:sldMk cId="4044565450" sldId="350"/>
            <ac:grpSpMk id="71" creationId="{559080DD-6F86-4C5B-84A9-980CDA38E816}"/>
          </ac:grpSpMkLst>
        </pc:grpChg>
        <pc:grpChg chg="add del mod">
          <ac:chgData name="Henry" userId="02f5dd7c-8d1c-42af-a438-3c1752a452dc" providerId="ADAL" clId="{5942D110-875B-42FB-AC8A-CA70EB9445B0}" dt="2020-11-15T16:28:30.202" v="2009"/>
          <ac:grpSpMkLst>
            <pc:docMk/>
            <pc:sldMk cId="4044565450" sldId="350"/>
            <ac:grpSpMk id="79" creationId="{C1189B56-FE26-450B-97B3-CF26FEB4D050}"/>
          </ac:grpSpMkLst>
        </pc:grpChg>
        <pc:grpChg chg="add del mod">
          <ac:chgData name="Henry" userId="02f5dd7c-8d1c-42af-a438-3c1752a452dc" providerId="ADAL" clId="{5942D110-875B-42FB-AC8A-CA70EB9445B0}" dt="2020-11-15T16:28:30.202" v="2009"/>
          <ac:grpSpMkLst>
            <pc:docMk/>
            <pc:sldMk cId="4044565450" sldId="350"/>
            <ac:grpSpMk id="87" creationId="{1A7DA7BC-AD0E-452A-8C93-14FF56ACD462}"/>
          </ac:grpSpMkLst>
        </pc:grpChg>
        <pc:grpChg chg="del">
          <ac:chgData name="Henry" userId="02f5dd7c-8d1c-42af-a438-3c1752a452dc" providerId="ADAL" clId="{5942D110-875B-42FB-AC8A-CA70EB9445B0}" dt="2020-11-15T16:28:31.589" v="2010" actId="478"/>
          <ac:grpSpMkLst>
            <pc:docMk/>
            <pc:sldMk cId="4044565450" sldId="350"/>
            <ac:grpSpMk id="93" creationId="{8B989D63-BF7E-400F-9069-F18965E4CA3A}"/>
          </ac:grpSpMkLst>
        </pc:grpChg>
        <pc:grpChg chg="del">
          <ac:chgData name="Henry" userId="02f5dd7c-8d1c-42af-a438-3c1752a452dc" providerId="ADAL" clId="{5942D110-875B-42FB-AC8A-CA70EB9445B0}" dt="2020-11-15T16:28:31.589" v="2010" actId="478"/>
          <ac:grpSpMkLst>
            <pc:docMk/>
            <pc:sldMk cId="4044565450" sldId="350"/>
            <ac:grpSpMk id="102" creationId="{224A3C5B-24E6-419D-82B6-C7325C221EA1}"/>
          </ac:grpSpMkLst>
        </pc:grpChg>
        <pc:grpChg chg="add del mod">
          <ac:chgData name="Henry" userId="02f5dd7c-8d1c-42af-a438-3c1752a452dc" providerId="ADAL" clId="{5942D110-875B-42FB-AC8A-CA70EB9445B0}" dt="2020-11-15T16:28:30.202" v="2009"/>
          <ac:grpSpMkLst>
            <pc:docMk/>
            <pc:sldMk cId="4044565450" sldId="350"/>
            <ac:grpSpMk id="108" creationId="{FFD41BE4-BA35-44F5-B2C2-9BFD34721B50}"/>
          </ac:grpSpMkLst>
        </pc:grpChg>
        <pc:grpChg chg="add del mod">
          <ac:chgData name="Henry" userId="02f5dd7c-8d1c-42af-a438-3c1752a452dc" providerId="ADAL" clId="{5942D110-875B-42FB-AC8A-CA70EB9445B0}" dt="2020-11-15T16:28:30.202" v="2009"/>
          <ac:grpSpMkLst>
            <pc:docMk/>
            <pc:sldMk cId="4044565450" sldId="350"/>
            <ac:grpSpMk id="120" creationId="{111BE110-0947-47D0-BC61-9841573AD7D0}"/>
          </ac:grpSpMkLst>
        </pc:grpChg>
        <pc:grpChg chg="mod">
          <ac:chgData name="Henry" userId="02f5dd7c-8d1c-42af-a438-3c1752a452dc" providerId="ADAL" clId="{5942D110-875B-42FB-AC8A-CA70EB9445B0}" dt="2020-11-15T16:28:28.254" v="2008"/>
          <ac:grpSpMkLst>
            <pc:docMk/>
            <pc:sldMk cId="4044565450" sldId="350"/>
            <ac:grpSpMk id="121" creationId="{BC366AA2-6CBE-4C87-8FBF-B2892A598C0E}"/>
          </ac:grpSpMkLst>
        </pc:grpChg>
        <pc:grpChg chg="add del mod">
          <ac:chgData name="Henry" userId="02f5dd7c-8d1c-42af-a438-3c1752a452dc" providerId="ADAL" clId="{5942D110-875B-42FB-AC8A-CA70EB9445B0}" dt="2020-11-15T16:28:30.202" v="2009"/>
          <ac:grpSpMkLst>
            <pc:docMk/>
            <pc:sldMk cId="4044565450" sldId="350"/>
            <ac:grpSpMk id="133" creationId="{828E1302-FF96-4133-926C-B89A105B19B9}"/>
          </ac:grpSpMkLst>
        </pc:grpChg>
        <pc:grpChg chg="add del mod">
          <ac:chgData name="Henry" userId="02f5dd7c-8d1c-42af-a438-3c1752a452dc" providerId="ADAL" clId="{5942D110-875B-42FB-AC8A-CA70EB9445B0}" dt="2020-11-15T16:28:30.202" v="2009"/>
          <ac:grpSpMkLst>
            <pc:docMk/>
            <pc:sldMk cId="4044565450" sldId="350"/>
            <ac:grpSpMk id="139" creationId="{AAC51413-E345-4DFA-ACA2-54CF9FA576C0}"/>
          </ac:grpSpMkLst>
        </pc:grpChg>
        <pc:grpChg chg="add del mod">
          <ac:chgData name="Henry" userId="02f5dd7c-8d1c-42af-a438-3c1752a452dc" providerId="ADAL" clId="{5942D110-875B-42FB-AC8A-CA70EB9445B0}" dt="2020-11-15T16:28:30.202" v="2009"/>
          <ac:grpSpMkLst>
            <pc:docMk/>
            <pc:sldMk cId="4044565450" sldId="350"/>
            <ac:grpSpMk id="144" creationId="{E456F560-6C37-41B8-9F90-4B55912EE3F8}"/>
          </ac:grpSpMkLst>
        </pc:grpChg>
        <pc:grpChg chg="add del mod">
          <ac:chgData name="Henry" userId="02f5dd7c-8d1c-42af-a438-3c1752a452dc" providerId="ADAL" clId="{5942D110-875B-42FB-AC8A-CA70EB9445B0}" dt="2020-11-15T16:28:30.202" v="2009"/>
          <ac:grpSpMkLst>
            <pc:docMk/>
            <pc:sldMk cId="4044565450" sldId="350"/>
            <ac:grpSpMk id="147" creationId="{229062DA-B3DD-40B7-BD40-AE05F9F09764}"/>
          </ac:grpSpMkLst>
        </pc:grpChg>
        <pc:grpChg chg="mod">
          <ac:chgData name="Henry" userId="02f5dd7c-8d1c-42af-a438-3c1752a452dc" providerId="ADAL" clId="{5942D110-875B-42FB-AC8A-CA70EB9445B0}" dt="2020-11-15T16:28:28.254" v="2008"/>
          <ac:grpSpMkLst>
            <pc:docMk/>
            <pc:sldMk cId="4044565450" sldId="350"/>
            <ac:grpSpMk id="148" creationId="{2AC8BC87-28FD-41B1-93FE-68A79B085E66}"/>
          </ac:grpSpMkLst>
        </pc:grpChg>
        <pc:grpChg chg="add del mod">
          <ac:chgData name="Henry" userId="02f5dd7c-8d1c-42af-a438-3c1752a452dc" providerId="ADAL" clId="{5942D110-875B-42FB-AC8A-CA70EB9445B0}" dt="2020-11-15T16:28:30.202" v="2009"/>
          <ac:grpSpMkLst>
            <pc:docMk/>
            <pc:sldMk cId="4044565450" sldId="350"/>
            <ac:grpSpMk id="155" creationId="{95A7B480-E87B-44FA-A2ED-BA5D227701BC}"/>
          </ac:grpSpMkLst>
        </pc:grpChg>
        <pc:grpChg chg="mod">
          <ac:chgData name="Henry" userId="02f5dd7c-8d1c-42af-a438-3c1752a452dc" providerId="ADAL" clId="{5942D110-875B-42FB-AC8A-CA70EB9445B0}" dt="2020-11-15T16:28:28.254" v="2008"/>
          <ac:grpSpMkLst>
            <pc:docMk/>
            <pc:sldMk cId="4044565450" sldId="350"/>
            <ac:grpSpMk id="156" creationId="{CB544CC0-2BE9-46E9-B847-D200517E6711}"/>
          </ac:grpSpMkLst>
        </pc:grpChg>
        <pc:grpChg chg="add del mod">
          <ac:chgData name="Henry" userId="02f5dd7c-8d1c-42af-a438-3c1752a452dc" providerId="ADAL" clId="{5942D110-875B-42FB-AC8A-CA70EB9445B0}" dt="2020-11-15T16:28:30.202" v="2009"/>
          <ac:grpSpMkLst>
            <pc:docMk/>
            <pc:sldMk cId="4044565450" sldId="350"/>
            <ac:grpSpMk id="164" creationId="{FAD09520-E730-4679-8C84-70A01ECEE2E8}"/>
          </ac:grpSpMkLst>
        </pc:grpChg>
        <pc:grpChg chg="mod">
          <ac:chgData name="Henry" userId="02f5dd7c-8d1c-42af-a438-3c1752a452dc" providerId="ADAL" clId="{5942D110-875B-42FB-AC8A-CA70EB9445B0}" dt="2020-11-15T16:28:28.254" v="2008"/>
          <ac:grpSpMkLst>
            <pc:docMk/>
            <pc:sldMk cId="4044565450" sldId="350"/>
            <ac:grpSpMk id="165" creationId="{0817CAA4-0F53-4895-963F-BC0A8210F9C0}"/>
          </ac:grpSpMkLst>
        </pc:grpChg>
        <pc:grpChg chg="add del mod">
          <ac:chgData name="Henry" userId="02f5dd7c-8d1c-42af-a438-3c1752a452dc" providerId="ADAL" clId="{5942D110-875B-42FB-AC8A-CA70EB9445B0}" dt="2020-11-15T16:28:30.202" v="2009"/>
          <ac:grpSpMkLst>
            <pc:docMk/>
            <pc:sldMk cId="4044565450" sldId="350"/>
            <ac:grpSpMk id="170" creationId="{BDF46AF3-01EF-42CE-B1B0-88EEAF33FA01}"/>
          </ac:grpSpMkLst>
        </pc:grpChg>
        <pc:grpChg chg="mod">
          <ac:chgData name="Henry" userId="02f5dd7c-8d1c-42af-a438-3c1752a452dc" providerId="ADAL" clId="{5942D110-875B-42FB-AC8A-CA70EB9445B0}" dt="2020-11-15T16:28:28.254" v="2008"/>
          <ac:grpSpMkLst>
            <pc:docMk/>
            <pc:sldMk cId="4044565450" sldId="350"/>
            <ac:grpSpMk id="171" creationId="{FC097657-E861-4CAC-BE87-68AC55FE19B4}"/>
          </ac:grpSpMkLst>
        </pc:grpChg>
        <pc:grpChg chg="add del mod">
          <ac:chgData name="Henry" userId="02f5dd7c-8d1c-42af-a438-3c1752a452dc" providerId="ADAL" clId="{5942D110-875B-42FB-AC8A-CA70EB9445B0}" dt="2020-11-15T16:28:30.202" v="2009"/>
          <ac:grpSpMkLst>
            <pc:docMk/>
            <pc:sldMk cId="4044565450" sldId="350"/>
            <ac:grpSpMk id="177" creationId="{751C5EBA-5200-42E7-89BB-D461FB6F5D6F}"/>
          </ac:grpSpMkLst>
        </pc:grpChg>
        <pc:grpChg chg="add mod">
          <ac:chgData name="Henry" userId="02f5dd7c-8d1c-42af-a438-3c1752a452dc" providerId="ADAL" clId="{5942D110-875B-42FB-AC8A-CA70EB9445B0}" dt="2020-11-15T16:30:24.443" v="2025" actId="1076"/>
          <ac:grpSpMkLst>
            <pc:docMk/>
            <pc:sldMk cId="4044565450" sldId="350"/>
            <ac:grpSpMk id="185" creationId="{0E7A0896-01B8-4BA0-86AD-CC56572206E4}"/>
          </ac:grpSpMkLst>
        </pc:grpChg>
        <pc:grpChg chg="mod">
          <ac:chgData name="Henry" userId="02f5dd7c-8d1c-42af-a438-3c1752a452dc" providerId="ADAL" clId="{5942D110-875B-42FB-AC8A-CA70EB9445B0}" dt="2020-11-15T16:28:32.402" v="2011"/>
          <ac:grpSpMkLst>
            <pc:docMk/>
            <pc:sldMk cId="4044565450" sldId="350"/>
            <ac:grpSpMk id="186" creationId="{A2662DD4-63CC-4E42-AC2F-A10EF0CC9022}"/>
          </ac:grpSpMkLst>
        </pc:grpChg>
        <pc:grpChg chg="add mod">
          <ac:chgData name="Henry" userId="02f5dd7c-8d1c-42af-a438-3c1752a452dc" providerId="ADAL" clId="{5942D110-875B-42FB-AC8A-CA70EB9445B0}" dt="2020-11-15T16:30:24.443" v="2025" actId="1076"/>
          <ac:grpSpMkLst>
            <pc:docMk/>
            <pc:sldMk cId="4044565450" sldId="350"/>
            <ac:grpSpMk id="197" creationId="{ABC2B113-B556-42E8-8E4F-445CA5E326A6}"/>
          </ac:grpSpMkLst>
        </pc:grpChg>
        <pc:grpChg chg="mod">
          <ac:chgData name="Henry" userId="02f5dd7c-8d1c-42af-a438-3c1752a452dc" providerId="ADAL" clId="{5942D110-875B-42FB-AC8A-CA70EB9445B0}" dt="2020-11-15T16:28:32.402" v="2011"/>
          <ac:grpSpMkLst>
            <pc:docMk/>
            <pc:sldMk cId="4044565450" sldId="350"/>
            <ac:grpSpMk id="198" creationId="{015B3559-72E7-4EAC-9493-155380080F72}"/>
          </ac:grpSpMkLst>
        </pc:grpChg>
        <pc:grpChg chg="add mod">
          <ac:chgData name="Henry" userId="02f5dd7c-8d1c-42af-a438-3c1752a452dc" providerId="ADAL" clId="{5942D110-875B-42FB-AC8A-CA70EB9445B0}" dt="2020-11-15T16:30:24.443" v="2025" actId="1076"/>
          <ac:grpSpMkLst>
            <pc:docMk/>
            <pc:sldMk cId="4044565450" sldId="350"/>
            <ac:grpSpMk id="206" creationId="{0DBCAE63-F937-44CC-B476-9EBC8B549668}"/>
          </ac:grpSpMkLst>
        </pc:grpChg>
        <pc:grpChg chg="add mod">
          <ac:chgData name="Henry" userId="02f5dd7c-8d1c-42af-a438-3c1752a452dc" providerId="ADAL" clId="{5942D110-875B-42FB-AC8A-CA70EB9445B0}" dt="2020-11-15T16:30:24.443" v="2025" actId="1076"/>
          <ac:grpSpMkLst>
            <pc:docMk/>
            <pc:sldMk cId="4044565450" sldId="350"/>
            <ac:grpSpMk id="212" creationId="{8162CA60-8C70-4372-BDBD-AE192869C741}"/>
          </ac:grpSpMkLst>
        </pc:grpChg>
        <pc:grpChg chg="add del mod">
          <ac:chgData name="Henry" userId="02f5dd7c-8d1c-42af-a438-3c1752a452dc" providerId="ADAL" clId="{5942D110-875B-42FB-AC8A-CA70EB9445B0}" dt="2020-11-15T16:31:16.383" v="2027" actId="478"/>
          <ac:grpSpMkLst>
            <pc:docMk/>
            <pc:sldMk cId="4044565450" sldId="350"/>
            <ac:grpSpMk id="215" creationId="{BEDE7FB1-F89C-42FB-B3C3-FB0288DC9AD1}"/>
          </ac:grpSpMkLst>
        </pc:grpChg>
        <pc:grpChg chg="add mod">
          <ac:chgData name="Henry" userId="02f5dd7c-8d1c-42af-a438-3c1752a452dc" providerId="ADAL" clId="{5942D110-875B-42FB-AC8A-CA70EB9445B0}" dt="2020-11-15T16:30:17.754" v="2024" actId="1076"/>
          <ac:grpSpMkLst>
            <pc:docMk/>
            <pc:sldMk cId="4044565450" sldId="350"/>
            <ac:grpSpMk id="224" creationId="{3BB4BC3E-BE39-4F3E-97AA-E13D78E9814A}"/>
          </ac:grpSpMkLst>
        </pc:grpChg>
        <pc:grpChg chg="mod">
          <ac:chgData name="Henry" userId="02f5dd7c-8d1c-42af-a438-3c1752a452dc" providerId="ADAL" clId="{5942D110-875B-42FB-AC8A-CA70EB9445B0}" dt="2020-11-15T16:28:32.402" v="2011"/>
          <ac:grpSpMkLst>
            <pc:docMk/>
            <pc:sldMk cId="4044565450" sldId="350"/>
            <ac:grpSpMk id="225" creationId="{90661AD2-63BC-497D-B8B1-FCD0FC3275F1}"/>
          </ac:grpSpMkLst>
        </pc:grpChg>
        <pc:grpChg chg="add mod">
          <ac:chgData name="Henry" userId="02f5dd7c-8d1c-42af-a438-3c1752a452dc" providerId="ADAL" clId="{5942D110-875B-42FB-AC8A-CA70EB9445B0}" dt="2020-11-15T16:30:17.754" v="2024" actId="1076"/>
          <ac:grpSpMkLst>
            <pc:docMk/>
            <pc:sldMk cId="4044565450" sldId="350"/>
            <ac:grpSpMk id="233" creationId="{3B897465-E982-4448-A100-A08E6F531BCC}"/>
          </ac:grpSpMkLst>
        </pc:grpChg>
        <pc:grpChg chg="add mod">
          <ac:chgData name="Henry" userId="02f5dd7c-8d1c-42af-a438-3c1752a452dc" providerId="ADAL" clId="{5942D110-875B-42FB-AC8A-CA70EB9445B0}" dt="2020-11-15T16:30:17.754" v="2024" actId="1076"/>
          <ac:grpSpMkLst>
            <pc:docMk/>
            <pc:sldMk cId="4044565450" sldId="350"/>
            <ac:grpSpMk id="239" creationId="{3B6AC4A1-8A69-4FBC-BD51-CDB43BD6668A}"/>
          </ac:grpSpMkLst>
        </pc:grpChg>
        <pc:grpChg chg="add mod">
          <ac:chgData name="Henry" userId="02f5dd7c-8d1c-42af-a438-3c1752a452dc" providerId="ADAL" clId="{5942D110-875B-42FB-AC8A-CA70EB9445B0}" dt="2020-11-15T16:30:17.754" v="2024" actId="1076"/>
          <ac:grpSpMkLst>
            <pc:docMk/>
            <pc:sldMk cId="4044565450" sldId="350"/>
            <ac:grpSpMk id="244" creationId="{8218266E-1BBC-40EC-BF0B-5FD24A85105F}"/>
          </ac:grpSpMkLst>
        </pc:grpChg>
        <pc:grpChg chg="add mod">
          <ac:chgData name="Henry" userId="02f5dd7c-8d1c-42af-a438-3c1752a452dc" providerId="ADAL" clId="{5942D110-875B-42FB-AC8A-CA70EB9445B0}" dt="2020-11-15T16:30:17.754" v="2024" actId="1076"/>
          <ac:grpSpMkLst>
            <pc:docMk/>
            <pc:sldMk cId="4044565450" sldId="350"/>
            <ac:grpSpMk id="247" creationId="{7B564D07-C93A-4697-8A4E-45A35FE74B38}"/>
          </ac:grpSpMkLst>
        </pc:grpChg>
        <pc:grpChg chg="mod">
          <ac:chgData name="Henry" userId="02f5dd7c-8d1c-42af-a438-3c1752a452dc" providerId="ADAL" clId="{5942D110-875B-42FB-AC8A-CA70EB9445B0}" dt="2020-11-15T16:28:32.402" v="2011"/>
          <ac:grpSpMkLst>
            <pc:docMk/>
            <pc:sldMk cId="4044565450" sldId="350"/>
            <ac:grpSpMk id="248" creationId="{75B48EDC-63E0-4AA3-8C6F-DF47FD1F52D5}"/>
          </ac:grpSpMkLst>
        </pc:grpChg>
        <pc:grpChg chg="add mod">
          <ac:chgData name="Henry" userId="02f5dd7c-8d1c-42af-a438-3c1752a452dc" providerId="ADAL" clId="{5942D110-875B-42FB-AC8A-CA70EB9445B0}" dt="2020-11-15T16:29:39.851" v="2017" actId="1076"/>
          <ac:grpSpMkLst>
            <pc:docMk/>
            <pc:sldMk cId="4044565450" sldId="350"/>
            <ac:grpSpMk id="255" creationId="{40685E2F-2100-46C8-9285-DB3607D7F347}"/>
          </ac:grpSpMkLst>
        </pc:grpChg>
        <pc:grpChg chg="mod">
          <ac:chgData name="Henry" userId="02f5dd7c-8d1c-42af-a438-3c1752a452dc" providerId="ADAL" clId="{5942D110-875B-42FB-AC8A-CA70EB9445B0}" dt="2020-11-15T16:28:32.402" v="2011"/>
          <ac:grpSpMkLst>
            <pc:docMk/>
            <pc:sldMk cId="4044565450" sldId="350"/>
            <ac:grpSpMk id="256" creationId="{C13312A5-7A95-482E-9589-080D5D4FDFB7}"/>
          </ac:grpSpMkLst>
        </pc:grpChg>
        <pc:grpChg chg="add mod">
          <ac:chgData name="Henry" userId="02f5dd7c-8d1c-42af-a438-3c1752a452dc" providerId="ADAL" clId="{5942D110-875B-42FB-AC8A-CA70EB9445B0}" dt="2020-11-15T16:29:39.851" v="2017" actId="1076"/>
          <ac:grpSpMkLst>
            <pc:docMk/>
            <pc:sldMk cId="4044565450" sldId="350"/>
            <ac:grpSpMk id="264" creationId="{4C2B2EFA-4177-4D92-8567-F611735188C2}"/>
          </ac:grpSpMkLst>
        </pc:grpChg>
        <pc:grpChg chg="mod">
          <ac:chgData name="Henry" userId="02f5dd7c-8d1c-42af-a438-3c1752a452dc" providerId="ADAL" clId="{5942D110-875B-42FB-AC8A-CA70EB9445B0}" dt="2020-11-15T16:28:32.402" v="2011"/>
          <ac:grpSpMkLst>
            <pc:docMk/>
            <pc:sldMk cId="4044565450" sldId="350"/>
            <ac:grpSpMk id="265" creationId="{C717E456-8102-475A-97FF-BD30CF6F45CE}"/>
          </ac:grpSpMkLst>
        </pc:grpChg>
        <pc:grpChg chg="add mod">
          <ac:chgData name="Henry" userId="02f5dd7c-8d1c-42af-a438-3c1752a452dc" providerId="ADAL" clId="{5942D110-875B-42FB-AC8A-CA70EB9445B0}" dt="2020-11-15T16:29:39.851" v="2017" actId="1076"/>
          <ac:grpSpMkLst>
            <pc:docMk/>
            <pc:sldMk cId="4044565450" sldId="350"/>
            <ac:grpSpMk id="270" creationId="{6B243917-A8ED-4855-98E1-373BE0EFABA0}"/>
          </ac:grpSpMkLst>
        </pc:grpChg>
        <pc:grpChg chg="mod">
          <ac:chgData name="Henry" userId="02f5dd7c-8d1c-42af-a438-3c1752a452dc" providerId="ADAL" clId="{5942D110-875B-42FB-AC8A-CA70EB9445B0}" dt="2020-11-15T16:28:32.402" v="2011"/>
          <ac:grpSpMkLst>
            <pc:docMk/>
            <pc:sldMk cId="4044565450" sldId="350"/>
            <ac:grpSpMk id="271" creationId="{96B7B0BF-D9F8-47ED-903F-8CAA30E3546D}"/>
          </ac:grpSpMkLst>
        </pc:grpChg>
        <pc:grpChg chg="add mod">
          <ac:chgData name="Henry" userId="02f5dd7c-8d1c-42af-a438-3c1752a452dc" providerId="ADAL" clId="{5942D110-875B-42FB-AC8A-CA70EB9445B0}" dt="2020-11-15T16:29:39.851" v="2017" actId="1076"/>
          <ac:grpSpMkLst>
            <pc:docMk/>
            <pc:sldMk cId="4044565450" sldId="350"/>
            <ac:grpSpMk id="277" creationId="{9013A9ED-AC64-49D3-AA1B-7A7DA23FECC3}"/>
          </ac:grpSpMkLst>
        </pc:grpChg>
        <pc:grpChg chg="add mod">
          <ac:chgData name="Henry" userId="02f5dd7c-8d1c-42af-a438-3c1752a452dc" providerId="ADAL" clId="{5942D110-875B-42FB-AC8A-CA70EB9445B0}" dt="2020-11-15T16:31:19.769" v="2029" actId="1076"/>
          <ac:grpSpMkLst>
            <pc:docMk/>
            <pc:sldMk cId="4044565450" sldId="350"/>
            <ac:grpSpMk id="285" creationId="{5473AD4B-98A9-4954-A2D2-A0F2E7F31494}"/>
          </ac:grpSpMkLst>
        </pc:grpChg>
        <pc:picChg chg="add mod">
          <ac:chgData name="Henry" userId="02f5dd7c-8d1c-42af-a438-3c1752a452dc" providerId="ADAL" clId="{5942D110-875B-42FB-AC8A-CA70EB9445B0}" dt="2020-11-15T16:31:43.592" v="2035" actId="1076"/>
          <ac:picMkLst>
            <pc:docMk/>
            <pc:sldMk cId="4044565450" sldId="350"/>
            <ac:picMk id="3" creationId="{F68FF915-7E33-4B88-A33B-7855E8E6214F}"/>
          </ac:picMkLst>
        </pc:picChg>
        <pc:picChg chg="add mod">
          <ac:chgData name="Henry" userId="02f5dd7c-8d1c-42af-a438-3c1752a452dc" providerId="ADAL" clId="{5942D110-875B-42FB-AC8A-CA70EB9445B0}" dt="2020-11-15T16:32:08.418" v="2044" actId="1038"/>
          <ac:picMkLst>
            <pc:docMk/>
            <pc:sldMk cId="4044565450" sldId="350"/>
            <ac:picMk id="4" creationId="{C8C78E28-958E-4B1A-9761-75280527DE06}"/>
          </ac:picMkLst>
        </pc:picChg>
        <pc:picChg chg="mod">
          <ac:chgData name="Henry" userId="02f5dd7c-8d1c-42af-a438-3c1752a452dc" providerId="ADAL" clId="{5942D110-875B-42FB-AC8A-CA70EB9445B0}" dt="2020-11-15T16:28:28.254" v="2008"/>
          <ac:picMkLst>
            <pc:docMk/>
            <pc:sldMk cId="4044565450" sldId="350"/>
            <ac:picMk id="111" creationId="{DBAB4272-D7BB-49E9-9291-2682A1BF256D}"/>
          </ac:picMkLst>
        </pc:picChg>
        <pc:picChg chg="mod">
          <ac:chgData name="Henry" userId="02f5dd7c-8d1c-42af-a438-3c1752a452dc" providerId="ADAL" clId="{5942D110-875B-42FB-AC8A-CA70EB9445B0}" dt="2020-11-15T16:28:28.254" v="2008"/>
          <ac:picMkLst>
            <pc:docMk/>
            <pc:sldMk cId="4044565450" sldId="350"/>
            <ac:picMk id="142" creationId="{BBE57308-CA01-4D6B-9F0A-B68BEF7545D7}"/>
          </ac:picMkLst>
        </pc:picChg>
        <pc:picChg chg="mod">
          <ac:chgData name="Henry" userId="02f5dd7c-8d1c-42af-a438-3c1752a452dc" providerId="ADAL" clId="{5942D110-875B-42FB-AC8A-CA70EB9445B0}" dt="2020-11-15T16:28:28.254" v="2008"/>
          <ac:picMkLst>
            <pc:docMk/>
            <pc:sldMk cId="4044565450" sldId="350"/>
            <ac:picMk id="180" creationId="{7E325E10-B6DD-4231-B90B-5BCA048444EF}"/>
          </ac:picMkLst>
        </pc:picChg>
        <pc:picChg chg="mod">
          <ac:chgData name="Henry" userId="02f5dd7c-8d1c-42af-a438-3c1752a452dc" providerId="ADAL" clId="{5942D110-875B-42FB-AC8A-CA70EB9445B0}" dt="2020-11-15T16:28:32.402" v="2011"/>
          <ac:picMkLst>
            <pc:docMk/>
            <pc:sldMk cId="4044565450" sldId="350"/>
            <ac:picMk id="218" creationId="{C619377D-0A9C-4DB5-B930-E50146C4B772}"/>
          </ac:picMkLst>
        </pc:picChg>
        <pc:picChg chg="del mod">
          <ac:chgData name="Henry" userId="02f5dd7c-8d1c-42af-a438-3c1752a452dc" providerId="ADAL" clId="{5942D110-875B-42FB-AC8A-CA70EB9445B0}" dt="2020-11-15T16:31:35.687" v="2032" actId="478"/>
          <ac:picMkLst>
            <pc:docMk/>
            <pc:sldMk cId="4044565450" sldId="350"/>
            <ac:picMk id="242" creationId="{E423157F-5A12-4B84-9845-4AB784E3EEAE}"/>
          </ac:picMkLst>
        </pc:picChg>
        <pc:picChg chg="del mod">
          <ac:chgData name="Henry" userId="02f5dd7c-8d1c-42af-a438-3c1752a452dc" providerId="ADAL" clId="{5942D110-875B-42FB-AC8A-CA70EB9445B0}" dt="2020-11-15T16:31:50.086" v="2036" actId="478"/>
          <ac:picMkLst>
            <pc:docMk/>
            <pc:sldMk cId="4044565450" sldId="350"/>
            <ac:picMk id="280" creationId="{A0680CC6-0DF5-49D6-8246-4D1DB2527C25}"/>
          </ac:picMkLst>
        </pc:picChg>
        <pc:picChg chg="add mod">
          <ac:chgData name="Henry" userId="02f5dd7c-8d1c-42af-a438-3c1752a452dc" providerId="ADAL" clId="{5942D110-875B-42FB-AC8A-CA70EB9445B0}" dt="2020-11-15T16:31:19.769" v="2029" actId="1076"/>
          <ac:picMkLst>
            <pc:docMk/>
            <pc:sldMk cId="4044565450" sldId="350"/>
            <ac:picMk id="288" creationId="{9AF6C7F1-4B12-49F6-972A-1B5B4044A158}"/>
          </ac:picMkLst>
        </pc:picChg>
        <pc:cxnChg chg="add del mod">
          <ac:chgData name="Henry" userId="02f5dd7c-8d1c-42af-a438-3c1752a452dc" providerId="ADAL" clId="{5942D110-875B-42FB-AC8A-CA70EB9445B0}" dt="2020-11-15T16:28:30.202" v="2009"/>
          <ac:cxnSpMkLst>
            <pc:docMk/>
            <pc:sldMk cId="4044565450" sldId="350"/>
            <ac:cxnSpMk id="48" creationId="{5DEF230B-7693-46D9-9452-AE336B0E7AA3}"/>
          </ac:cxnSpMkLst>
        </pc:cxnChg>
        <pc:cxnChg chg="mod">
          <ac:chgData name="Henry" userId="02f5dd7c-8d1c-42af-a438-3c1752a452dc" providerId="ADAL" clId="{5942D110-875B-42FB-AC8A-CA70EB9445B0}" dt="2020-11-15T16:28:31.589" v="2010" actId="478"/>
          <ac:cxnSpMkLst>
            <pc:docMk/>
            <pc:sldMk cId="4044565450" sldId="350"/>
            <ac:cxnSpMk id="57" creationId="{3C48ABE7-62E1-48AF-89DB-65159A67C4C6}"/>
          </ac:cxnSpMkLst>
        </pc:cxnChg>
        <pc:cxnChg chg="mod">
          <ac:chgData name="Henry" userId="02f5dd7c-8d1c-42af-a438-3c1752a452dc" providerId="ADAL" clId="{5942D110-875B-42FB-AC8A-CA70EB9445B0}" dt="2020-11-15T16:28:31.589" v="2010" actId="478"/>
          <ac:cxnSpMkLst>
            <pc:docMk/>
            <pc:sldMk cId="4044565450" sldId="350"/>
            <ac:cxnSpMk id="58" creationId="{FE842139-362F-4DA3-B017-B94C31361C6E}"/>
          </ac:cxnSpMkLst>
        </pc:cxnChg>
        <pc:cxnChg chg="mod">
          <ac:chgData name="Henry" userId="02f5dd7c-8d1c-42af-a438-3c1752a452dc" providerId="ADAL" clId="{5942D110-875B-42FB-AC8A-CA70EB9445B0}" dt="2020-11-15T16:28:28.254" v="2008"/>
          <ac:cxnSpMkLst>
            <pc:docMk/>
            <pc:sldMk cId="4044565450" sldId="350"/>
            <ac:cxnSpMk id="62" creationId="{DF5D0534-2261-4F71-8EE3-387C1C914ADF}"/>
          </ac:cxnSpMkLst>
        </pc:cxnChg>
        <pc:cxnChg chg="mod">
          <ac:chgData name="Henry" userId="02f5dd7c-8d1c-42af-a438-3c1752a452dc" providerId="ADAL" clId="{5942D110-875B-42FB-AC8A-CA70EB9445B0}" dt="2020-11-15T16:28:28.254" v="2008"/>
          <ac:cxnSpMkLst>
            <pc:docMk/>
            <pc:sldMk cId="4044565450" sldId="350"/>
            <ac:cxnSpMk id="63" creationId="{F653422E-E737-441A-8F99-BEECDB11171F}"/>
          </ac:cxnSpMkLst>
        </pc:cxnChg>
        <pc:cxnChg chg="mod">
          <ac:chgData name="Henry" userId="02f5dd7c-8d1c-42af-a438-3c1752a452dc" providerId="ADAL" clId="{5942D110-875B-42FB-AC8A-CA70EB9445B0}" dt="2020-11-15T16:28:28.254" v="2008"/>
          <ac:cxnSpMkLst>
            <pc:docMk/>
            <pc:sldMk cId="4044565450" sldId="350"/>
            <ac:cxnSpMk id="74" creationId="{196BDB2B-7220-4E87-A3F1-2701D2784C1A}"/>
          </ac:cxnSpMkLst>
        </pc:cxnChg>
        <pc:cxnChg chg="mod">
          <ac:chgData name="Henry" userId="02f5dd7c-8d1c-42af-a438-3c1752a452dc" providerId="ADAL" clId="{5942D110-875B-42FB-AC8A-CA70EB9445B0}" dt="2020-11-15T16:28:28.254" v="2008"/>
          <ac:cxnSpMkLst>
            <pc:docMk/>
            <pc:sldMk cId="4044565450" sldId="350"/>
            <ac:cxnSpMk id="75" creationId="{D3B65883-C549-47D6-AFAB-FA7A5A68CC6F}"/>
          </ac:cxnSpMkLst>
        </pc:cxnChg>
        <pc:cxnChg chg="mod">
          <ac:chgData name="Henry" userId="02f5dd7c-8d1c-42af-a438-3c1752a452dc" providerId="ADAL" clId="{5942D110-875B-42FB-AC8A-CA70EB9445B0}" dt="2020-11-15T16:28:28.254" v="2008"/>
          <ac:cxnSpMkLst>
            <pc:docMk/>
            <pc:sldMk cId="4044565450" sldId="350"/>
            <ac:cxnSpMk id="80" creationId="{572D88C3-0CAC-46BA-AFC4-42EF6DA87A49}"/>
          </ac:cxnSpMkLst>
        </pc:cxnChg>
        <pc:cxnChg chg="mod">
          <ac:chgData name="Henry" userId="02f5dd7c-8d1c-42af-a438-3c1752a452dc" providerId="ADAL" clId="{5942D110-875B-42FB-AC8A-CA70EB9445B0}" dt="2020-11-15T16:28:28.254" v="2008"/>
          <ac:cxnSpMkLst>
            <pc:docMk/>
            <pc:sldMk cId="4044565450" sldId="350"/>
            <ac:cxnSpMk id="81" creationId="{70F5DB72-A4D8-4B5D-8BAF-22E1B43D295F}"/>
          </ac:cxnSpMkLst>
        </pc:cxnChg>
        <pc:cxnChg chg="add del mod">
          <ac:chgData name="Henry" userId="02f5dd7c-8d1c-42af-a438-3c1752a452dc" providerId="ADAL" clId="{5942D110-875B-42FB-AC8A-CA70EB9445B0}" dt="2020-11-15T16:28:30.202" v="2009"/>
          <ac:cxnSpMkLst>
            <pc:docMk/>
            <pc:sldMk cId="4044565450" sldId="350"/>
            <ac:cxnSpMk id="84" creationId="{1C4E829A-0A1E-448A-A162-18D605B08F54}"/>
          </ac:cxnSpMkLst>
        </pc:cxnChg>
        <pc:cxnChg chg="mod">
          <ac:chgData name="Henry" userId="02f5dd7c-8d1c-42af-a438-3c1752a452dc" providerId="ADAL" clId="{5942D110-875B-42FB-AC8A-CA70EB9445B0}" dt="2020-11-15T16:28:31.589" v="2010" actId="478"/>
          <ac:cxnSpMkLst>
            <pc:docMk/>
            <pc:sldMk cId="4044565450" sldId="350"/>
            <ac:cxnSpMk id="97" creationId="{C9B92B35-71AA-468D-81B5-0867B10A2CA6}"/>
          </ac:cxnSpMkLst>
        </pc:cxnChg>
        <pc:cxnChg chg="mod">
          <ac:chgData name="Henry" userId="02f5dd7c-8d1c-42af-a438-3c1752a452dc" providerId="ADAL" clId="{5942D110-875B-42FB-AC8A-CA70EB9445B0}" dt="2020-11-15T16:28:31.589" v="2010" actId="478"/>
          <ac:cxnSpMkLst>
            <pc:docMk/>
            <pc:sldMk cId="4044565450" sldId="350"/>
            <ac:cxnSpMk id="98" creationId="{869056B7-BE7C-4C29-AC84-FDE42976EA2E}"/>
          </ac:cxnSpMkLst>
        </pc:cxnChg>
        <pc:cxnChg chg="mod">
          <ac:chgData name="Henry" userId="02f5dd7c-8d1c-42af-a438-3c1752a452dc" providerId="ADAL" clId="{5942D110-875B-42FB-AC8A-CA70EB9445B0}" dt="2020-11-15T16:28:31.589" v="2010" actId="478"/>
          <ac:cxnSpMkLst>
            <pc:docMk/>
            <pc:sldMk cId="4044565450" sldId="350"/>
            <ac:cxnSpMk id="103" creationId="{435039FE-FC3F-4A6D-9DD2-F4312B4D80A3}"/>
          </ac:cxnSpMkLst>
        </pc:cxnChg>
        <pc:cxnChg chg="mod">
          <ac:chgData name="Henry" userId="02f5dd7c-8d1c-42af-a438-3c1752a452dc" providerId="ADAL" clId="{5942D110-875B-42FB-AC8A-CA70EB9445B0}" dt="2020-11-15T16:28:31.589" v="2010" actId="478"/>
          <ac:cxnSpMkLst>
            <pc:docMk/>
            <pc:sldMk cId="4044565450" sldId="350"/>
            <ac:cxnSpMk id="104" creationId="{75E33A18-DF9B-425D-B502-E5CBAA41E06C}"/>
          </ac:cxnSpMkLst>
        </pc:cxnChg>
        <pc:cxnChg chg="add del mod">
          <ac:chgData name="Henry" userId="02f5dd7c-8d1c-42af-a438-3c1752a452dc" providerId="ADAL" clId="{5942D110-875B-42FB-AC8A-CA70EB9445B0}" dt="2020-11-15T16:28:30.202" v="2009"/>
          <ac:cxnSpMkLst>
            <pc:docMk/>
            <pc:sldMk cId="4044565450" sldId="350"/>
            <ac:cxnSpMk id="113" creationId="{D01EF996-38B5-4E7D-AAAD-CDFFBB4F77B9}"/>
          </ac:cxnSpMkLst>
        </pc:cxnChg>
        <pc:cxnChg chg="del">
          <ac:chgData name="Henry" userId="02f5dd7c-8d1c-42af-a438-3c1752a452dc" providerId="ADAL" clId="{5942D110-875B-42FB-AC8A-CA70EB9445B0}" dt="2020-11-15T16:28:31.589" v="2010" actId="478"/>
          <ac:cxnSpMkLst>
            <pc:docMk/>
            <pc:sldMk cId="4044565450" sldId="350"/>
            <ac:cxnSpMk id="115" creationId="{EC834438-59BF-4BEB-8E7A-ADF86FACEA5D}"/>
          </ac:cxnSpMkLst>
        </pc:cxnChg>
        <pc:cxnChg chg="del">
          <ac:chgData name="Henry" userId="02f5dd7c-8d1c-42af-a438-3c1752a452dc" providerId="ADAL" clId="{5942D110-875B-42FB-AC8A-CA70EB9445B0}" dt="2020-11-15T16:28:31.589" v="2010" actId="478"/>
          <ac:cxnSpMkLst>
            <pc:docMk/>
            <pc:sldMk cId="4044565450" sldId="350"/>
            <ac:cxnSpMk id="116" creationId="{538F2630-7F05-4CFF-BF17-32CDFF3D7E80}"/>
          </ac:cxnSpMkLst>
        </pc:cxnChg>
        <pc:cxnChg chg="add del mod">
          <ac:chgData name="Henry" userId="02f5dd7c-8d1c-42af-a438-3c1752a452dc" providerId="ADAL" clId="{5942D110-875B-42FB-AC8A-CA70EB9445B0}" dt="2020-11-15T16:28:30.202" v="2009"/>
          <ac:cxnSpMkLst>
            <pc:docMk/>
            <pc:sldMk cId="4044565450" sldId="350"/>
            <ac:cxnSpMk id="117" creationId="{B05DEF5A-AE29-4862-80AA-63D13CBC9C78}"/>
          </ac:cxnSpMkLst>
        </pc:cxnChg>
        <pc:cxnChg chg="mod">
          <ac:chgData name="Henry" userId="02f5dd7c-8d1c-42af-a438-3c1752a452dc" providerId="ADAL" clId="{5942D110-875B-42FB-AC8A-CA70EB9445B0}" dt="2020-11-15T16:28:28.254" v="2008"/>
          <ac:cxnSpMkLst>
            <pc:docMk/>
            <pc:sldMk cId="4044565450" sldId="350"/>
            <ac:cxnSpMk id="124" creationId="{BAF68E11-23E6-48A8-BA3F-74DCECE8A7A4}"/>
          </ac:cxnSpMkLst>
        </pc:cxnChg>
        <pc:cxnChg chg="mod">
          <ac:chgData name="Henry" userId="02f5dd7c-8d1c-42af-a438-3c1752a452dc" providerId="ADAL" clId="{5942D110-875B-42FB-AC8A-CA70EB9445B0}" dt="2020-11-15T16:28:28.254" v="2008"/>
          <ac:cxnSpMkLst>
            <pc:docMk/>
            <pc:sldMk cId="4044565450" sldId="350"/>
            <ac:cxnSpMk id="125" creationId="{4FA735F3-D093-4956-BEC1-9F893BEF636C}"/>
          </ac:cxnSpMkLst>
        </pc:cxnChg>
        <pc:cxnChg chg="mod">
          <ac:chgData name="Henry" userId="02f5dd7c-8d1c-42af-a438-3c1752a452dc" providerId="ADAL" clId="{5942D110-875B-42FB-AC8A-CA70EB9445B0}" dt="2020-11-15T16:28:28.254" v="2008"/>
          <ac:cxnSpMkLst>
            <pc:docMk/>
            <pc:sldMk cId="4044565450" sldId="350"/>
            <ac:cxnSpMk id="134" creationId="{B9535AB2-9921-474D-BFE9-2016ED6E345E}"/>
          </ac:cxnSpMkLst>
        </pc:cxnChg>
        <pc:cxnChg chg="mod">
          <ac:chgData name="Henry" userId="02f5dd7c-8d1c-42af-a438-3c1752a452dc" providerId="ADAL" clId="{5942D110-875B-42FB-AC8A-CA70EB9445B0}" dt="2020-11-15T16:28:28.254" v="2008"/>
          <ac:cxnSpMkLst>
            <pc:docMk/>
            <pc:sldMk cId="4044565450" sldId="350"/>
            <ac:cxnSpMk id="135" creationId="{92828B22-36B5-4581-AA68-42526E05415C}"/>
          </ac:cxnSpMkLst>
        </pc:cxnChg>
        <pc:cxnChg chg="add del mod">
          <ac:chgData name="Henry" userId="02f5dd7c-8d1c-42af-a438-3c1752a452dc" providerId="ADAL" clId="{5942D110-875B-42FB-AC8A-CA70EB9445B0}" dt="2020-11-15T16:28:30.202" v="2009"/>
          <ac:cxnSpMkLst>
            <pc:docMk/>
            <pc:sldMk cId="4044565450" sldId="350"/>
            <ac:cxnSpMk id="138" creationId="{29C88FE8-0B4E-4897-A6A2-CE1F2D873D1C}"/>
          </ac:cxnSpMkLst>
        </pc:cxnChg>
        <pc:cxnChg chg="add del mod">
          <ac:chgData name="Henry" userId="02f5dd7c-8d1c-42af-a438-3c1752a452dc" providerId="ADAL" clId="{5942D110-875B-42FB-AC8A-CA70EB9445B0}" dt="2020-11-15T16:28:30.202" v="2009"/>
          <ac:cxnSpMkLst>
            <pc:docMk/>
            <pc:sldMk cId="4044565450" sldId="350"/>
            <ac:cxnSpMk id="143" creationId="{A0F17900-9FF9-4DC7-8B15-57EACCBDF83D}"/>
          </ac:cxnSpMkLst>
        </pc:cxnChg>
        <pc:cxnChg chg="mod">
          <ac:chgData name="Henry" userId="02f5dd7c-8d1c-42af-a438-3c1752a452dc" providerId="ADAL" clId="{5942D110-875B-42FB-AC8A-CA70EB9445B0}" dt="2020-11-15T16:28:28.254" v="2008"/>
          <ac:cxnSpMkLst>
            <pc:docMk/>
            <pc:sldMk cId="4044565450" sldId="350"/>
            <ac:cxnSpMk id="150" creationId="{2BBA9432-B1EF-4D84-9C9A-DEC98B96FFA8}"/>
          </ac:cxnSpMkLst>
        </pc:cxnChg>
        <pc:cxnChg chg="mod">
          <ac:chgData name="Henry" userId="02f5dd7c-8d1c-42af-a438-3c1752a452dc" providerId="ADAL" clId="{5942D110-875B-42FB-AC8A-CA70EB9445B0}" dt="2020-11-15T16:28:28.254" v="2008"/>
          <ac:cxnSpMkLst>
            <pc:docMk/>
            <pc:sldMk cId="4044565450" sldId="350"/>
            <ac:cxnSpMk id="151" creationId="{078BFE46-AC07-4240-A5B9-4D5AECC1B4A7}"/>
          </ac:cxnSpMkLst>
        </pc:cxnChg>
        <pc:cxnChg chg="mod">
          <ac:chgData name="Henry" userId="02f5dd7c-8d1c-42af-a438-3c1752a452dc" providerId="ADAL" clId="{5942D110-875B-42FB-AC8A-CA70EB9445B0}" dt="2020-11-15T16:28:28.254" v="2008"/>
          <ac:cxnSpMkLst>
            <pc:docMk/>
            <pc:sldMk cId="4044565450" sldId="350"/>
            <ac:cxnSpMk id="159" creationId="{DADF81A6-66CF-42D1-9A5E-31C707BE7BFA}"/>
          </ac:cxnSpMkLst>
        </pc:cxnChg>
        <pc:cxnChg chg="mod">
          <ac:chgData name="Henry" userId="02f5dd7c-8d1c-42af-a438-3c1752a452dc" providerId="ADAL" clId="{5942D110-875B-42FB-AC8A-CA70EB9445B0}" dt="2020-11-15T16:28:28.254" v="2008"/>
          <ac:cxnSpMkLst>
            <pc:docMk/>
            <pc:sldMk cId="4044565450" sldId="350"/>
            <ac:cxnSpMk id="160" creationId="{5F27A13B-8EAB-4B80-BAF0-20685E02AC93}"/>
          </ac:cxnSpMkLst>
        </pc:cxnChg>
        <pc:cxnChg chg="mod">
          <ac:chgData name="Henry" userId="02f5dd7c-8d1c-42af-a438-3c1752a452dc" providerId="ADAL" clId="{5942D110-875B-42FB-AC8A-CA70EB9445B0}" dt="2020-11-15T16:28:28.254" v="2008"/>
          <ac:cxnSpMkLst>
            <pc:docMk/>
            <pc:sldMk cId="4044565450" sldId="350"/>
            <ac:cxnSpMk id="167" creationId="{D761EC35-0E5C-4A0F-9259-C7FF06A43D3D}"/>
          </ac:cxnSpMkLst>
        </pc:cxnChg>
        <pc:cxnChg chg="mod">
          <ac:chgData name="Henry" userId="02f5dd7c-8d1c-42af-a438-3c1752a452dc" providerId="ADAL" clId="{5942D110-875B-42FB-AC8A-CA70EB9445B0}" dt="2020-11-15T16:28:28.254" v="2008"/>
          <ac:cxnSpMkLst>
            <pc:docMk/>
            <pc:sldMk cId="4044565450" sldId="350"/>
            <ac:cxnSpMk id="168" creationId="{60E40C5D-B401-47C8-9E27-3C0AD6D92D58}"/>
          </ac:cxnSpMkLst>
        </pc:cxnChg>
        <pc:cxnChg chg="mod">
          <ac:chgData name="Henry" userId="02f5dd7c-8d1c-42af-a438-3c1752a452dc" providerId="ADAL" clId="{5942D110-875B-42FB-AC8A-CA70EB9445B0}" dt="2020-11-15T16:28:28.254" v="2008"/>
          <ac:cxnSpMkLst>
            <pc:docMk/>
            <pc:sldMk cId="4044565450" sldId="350"/>
            <ac:cxnSpMk id="173" creationId="{8E0C90D1-3C0C-40AD-A114-D38E84EA41C3}"/>
          </ac:cxnSpMkLst>
        </pc:cxnChg>
        <pc:cxnChg chg="mod">
          <ac:chgData name="Henry" userId="02f5dd7c-8d1c-42af-a438-3c1752a452dc" providerId="ADAL" clId="{5942D110-875B-42FB-AC8A-CA70EB9445B0}" dt="2020-11-15T16:28:28.254" v="2008"/>
          <ac:cxnSpMkLst>
            <pc:docMk/>
            <pc:sldMk cId="4044565450" sldId="350"/>
            <ac:cxnSpMk id="174" creationId="{DF700BCB-30CF-4F39-B89B-4A88D1F0845B}"/>
          </ac:cxnSpMkLst>
        </pc:cxnChg>
        <pc:cxnChg chg="add del mod">
          <ac:chgData name="Henry" userId="02f5dd7c-8d1c-42af-a438-3c1752a452dc" providerId="ADAL" clId="{5942D110-875B-42FB-AC8A-CA70EB9445B0}" dt="2020-11-15T16:28:30.202" v="2009"/>
          <ac:cxnSpMkLst>
            <pc:docMk/>
            <pc:sldMk cId="4044565450" sldId="350"/>
            <ac:cxnSpMk id="176" creationId="{5CCC465C-DC2A-48DD-BF92-084B943C7F7E}"/>
          </ac:cxnSpMkLst>
        </pc:cxnChg>
        <pc:cxnChg chg="add mod">
          <ac:chgData name="Henry" userId="02f5dd7c-8d1c-42af-a438-3c1752a452dc" providerId="ADAL" clId="{5942D110-875B-42FB-AC8A-CA70EB9445B0}" dt="2020-11-15T16:30:24.443" v="2025" actId="1076"/>
          <ac:cxnSpMkLst>
            <pc:docMk/>
            <pc:sldMk cId="4044565450" sldId="350"/>
            <ac:cxnSpMk id="184" creationId="{BD998EAD-7DDC-4BFB-AF2F-7D88961303C6}"/>
          </ac:cxnSpMkLst>
        </pc:cxnChg>
        <pc:cxnChg chg="mod">
          <ac:chgData name="Henry" userId="02f5dd7c-8d1c-42af-a438-3c1752a452dc" providerId="ADAL" clId="{5942D110-875B-42FB-AC8A-CA70EB9445B0}" dt="2020-11-15T16:28:32.402" v="2011"/>
          <ac:cxnSpMkLst>
            <pc:docMk/>
            <pc:sldMk cId="4044565450" sldId="350"/>
            <ac:cxnSpMk id="189" creationId="{A8E6264F-2185-42D5-BAF2-84CA2CE03107}"/>
          </ac:cxnSpMkLst>
        </pc:cxnChg>
        <pc:cxnChg chg="mod">
          <ac:chgData name="Henry" userId="02f5dd7c-8d1c-42af-a438-3c1752a452dc" providerId="ADAL" clId="{5942D110-875B-42FB-AC8A-CA70EB9445B0}" dt="2020-11-15T16:28:32.402" v="2011"/>
          <ac:cxnSpMkLst>
            <pc:docMk/>
            <pc:sldMk cId="4044565450" sldId="350"/>
            <ac:cxnSpMk id="190" creationId="{ECD541B0-DAB1-4374-AA0A-F5DDF29E4ED9}"/>
          </ac:cxnSpMkLst>
        </pc:cxnChg>
        <pc:cxnChg chg="mod">
          <ac:chgData name="Henry" userId="02f5dd7c-8d1c-42af-a438-3c1752a452dc" providerId="ADAL" clId="{5942D110-875B-42FB-AC8A-CA70EB9445B0}" dt="2020-11-15T16:28:32.402" v="2011"/>
          <ac:cxnSpMkLst>
            <pc:docMk/>
            <pc:sldMk cId="4044565450" sldId="350"/>
            <ac:cxnSpMk id="201" creationId="{EB11F342-3150-4CB2-9757-665DACA9EBCF}"/>
          </ac:cxnSpMkLst>
        </pc:cxnChg>
        <pc:cxnChg chg="mod">
          <ac:chgData name="Henry" userId="02f5dd7c-8d1c-42af-a438-3c1752a452dc" providerId="ADAL" clId="{5942D110-875B-42FB-AC8A-CA70EB9445B0}" dt="2020-11-15T16:28:32.402" v="2011"/>
          <ac:cxnSpMkLst>
            <pc:docMk/>
            <pc:sldMk cId="4044565450" sldId="350"/>
            <ac:cxnSpMk id="202" creationId="{CAA27160-14FD-4F66-92B5-0A5C0D16BFD9}"/>
          </ac:cxnSpMkLst>
        </pc:cxnChg>
        <pc:cxnChg chg="mod">
          <ac:chgData name="Henry" userId="02f5dd7c-8d1c-42af-a438-3c1752a452dc" providerId="ADAL" clId="{5942D110-875B-42FB-AC8A-CA70EB9445B0}" dt="2020-11-15T16:28:32.402" v="2011"/>
          <ac:cxnSpMkLst>
            <pc:docMk/>
            <pc:sldMk cId="4044565450" sldId="350"/>
            <ac:cxnSpMk id="207" creationId="{98BEA23B-26C1-44D9-997B-70B575F18034}"/>
          </ac:cxnSpMkLst>
        </pc:cxnChg>
        <pc:cxnChg chg="mod">
          <ac:chgData name="Henry" userId="02f5dd7c-8d1c-42af-a438-3c1752a452dc" providerId="ADAL" clId="{5942D110-875B-42FB-AC8A-CA70EB9445B0}" dt="2020-11-15T16:28:32.402" v="2011"/>
          <ac:cxnSpMkLst>
            <pc:docMk/>
            <pc:sldMk cId="4044565450" sldId="350"/>
            <ac:cxnSpMk id="208" creationId="{ECE9E856-878F-4A4E-9687-41C8CD55B8BC}"/>
          </ac:cxnSpMkLst>
        </pc:cxnChg>
        <pc:cxnChg chg="add mod">
          <ac:chgData name="Henry" userId="02f5dd7c-8d1c-42af-a438-3c1752a452dc" providerId="ADAL" clId="{5942D110-875B-42FB-AC8A-CA70EB9445B0}" dt="2020-11-15T16:30:24.443" v="2025" actId="1076"/>
          <ac:cxnSpMkLst>
            <pc:docMk/>
            <pc:sldMk cId="4044565450" sldId="350"/>
            <ac:cxnSpMk id="211" creationId="{8B9AA9FC-BC18-4924-B696-5FCD27CDBB76}"/>
          </ac:cxnSpMkLst>
        </pc:cxnChg>
        <pc:cxnChg chg="add mod">
          <ac:chgData name="Henry" userId="02f5dd7c-8d1c-42af-a438-3c1752a452dc" providerId="ADAL" clId="{5942D110-875B-42FB-AC8A-CA70EB9445B0}" dt="2020-11-15T16:30:24.443" v="2025" actId="1076"/>
          <ac:cxnSpMkLst>
            <pc:docMk/>
            <pc:sldMk cId="4044565450" sldId="350"/>
            <ac:cxnSpMk id="220" creationId="{984387C9-302C-44AC-960C-B80CE8026E0A}"/>
          </ac:cxnSpMkLst>
        </pc:cxnChg>
        <pc:cxnChg chg="add mod">
          <ac:chgData name="Henry" userId="02f5dd7c-8d1c-42af-a438-3c1752a452dc" providerId="ADAL" clId="{5942D110-875B-42FB-AC8A-CA70EB9445B0}" dt="2020-11-15T16:30:24.443" v="2025" actId="1076"/>
          <ac:cxnSpMkLst>
            <pc:docMk/>
            <pc:sldMk cId="4044565450" sldId="350"/>
            <ac:cxnSpMk id="221" creationId="{400064D0-9F44-4058-A53B-77B2004D971E}"/>
          </ac:cxnSpMkLst>
        </pc:cxnChg>
        <pc:cxnChg chg="mod">
          <ac:chgData name="Henry" userId="02f5dd7c-8d1c-42af-a438-3c1752a452dc" providerId="ADAL" clId="{5942D110-875B-42FB-AC8A-CA70EB9445B0}" dt="2020-11-15T16:28:32.402" v="2011"/>
          <ac:cxnSpMkLst>
            <pc:docMk/>
            <pc:sldMk cId="4044565450" sldId="350"/>
            <ac:cxnSpMk id="228" creationId="{4163C52E-07C7-4829-9606-CB612B6760F3}"/>
          </ac:cxnSpMkLst>
        </pc:cxnChg>
        <pc:cxnChg chg="mod">
          <ac:chgData name="Henry" userId="02f5dd7c-8d1c-42af-a438-3c1752a452dc" providerId="ADAL" clId="{5942D110-875B-42FB-AC8A-CA70EB9445B0}" dt="2020-11-15T16:28:32.402" v="2011"/>
          <ac:cxnSpMkLst>
            <pc:docMk/>
            <pc:sldMk cId="4044565450" sldId="350"/>
            <ac:cxnSpMk id="229" creationId="{2DA5F417-FF74-467E-95BC-12AD6066632F}"/>
          </ac:cxnSpMkLst>
        </pc:cxnChg>
        <pc:cxnChg chg="mod">
          <ac:chgData name="Henry" userId="02f5dd7c-8d1c-42af-a438-3c1752a452dc" providerId="ADAL" clId="{5942D110-875B-42FB-AC8A-CA70EB9445B0}" dt="2020-11-15T16:28:32.402" v="2011"/>
          <ac:cxnSpMkLst>
            <pc:docMk/>
            <pc:sldMk cId="4044565450" sldId="350"/>
            <ac:cxnSpMk id="234" creationId="{E2A9AF88-929D-401D-9287-503428B72C80}"/>
          </ac:cxnSpMkLst>
        </pc:cxnChg>
        <pc:cxnChg chg="mod">
          <ac:chgData name="Henry" userId="02f5dd7c-8d1c-42af-a438-3c1752a452dc" providerId="ADAL" clId="{5942D110-875B-42FB-AC8A-CA70EB9445B0}" dt="2020-11-15T16:28:32.402" v="2011"/>
          <ac:cxnSpMkLst>
            <pc:docMk/>
            <pc:sldMk cId="4044565450" sldId="350"/>
            <ac:cxnSpMk id="235" creationId="{E7AA08B7-DA54-40A3-B6C0-C0490521A09E}"/>
          </ac:cxnSpMkLst>
        </pc:cxnChg>
        <pc:cxnChg chg="add mod">
          <ac:chgData name="Henry" userId="02f5dd7c-8d1c-42af-a438-3c1752a452dc" providerId="ADAL" clId="{5942D110-875B-42FB-AC8A-CA70EB9445B0}" dt="2020-11-15T16:30:17.754" v="2024" actId="1076"/>
          <ac:cxnSpMkLst>
            <pc:docMk/>
            <pc:sldMk cId="4044565450" sldId="350"/>
            <ac:cxnSpMk id="238" creationId="{5216DBD1-4426-44E6-B136-06FC128DBF7E}"/>
          </ac:cxnSpMkLst>
        </pc:cxnChg>
        <pc:cxnChg chg="add mod">
          <ac:chgData name="Henry" userId="02f5dd7c-8d1c-42af-a438-3c1752a452dc" providerId="ADAL" clId="{5942D110-875B-42FB-AC8A-CA70EB9445B0}" dt="2020-11-15T16:30:17.754" v="2024" actId="1076"/>
          <ac:cxnSpMkLst>
            <pc:docMk/>
            <pc:sldMk cId="4044565450" sldId="350"/>
            <ac:cxnSpMk id="243" creationId="{8A1B8904-3C3B-4D30-A908-99EED344C531}"/>
          </ac:cxnSpMkLst>
        </pc:cxnChg>
        <pc:cxnChg chg="mod">
          <ac:chgData name="Henry" userId="02f5dd7c-8d1c-42af-a438-3c1752a452dc" providerId="ADAL" clId="{5942D110-875B-42FB-AC8A-CA70EB9445B0}" dt="2020-11-15T16:28:32.402" v="2011"/>
          <ac:cxnSpMkLst>
            <pc:docMk/>
            <pc:sldMk cId="4044565450" sldId="350"/>
            <ac:cxnSpMk id="250" creationId="{FF05058B-CCE4-4D9F-B7A4-5BE90357A8B8}"/>
          </ac:cxnSpMkLst>
        </pc:cxnChg>
        <pc:cxnChg chg="mod">
          <ac:chgData name="Henry" userId="02f5dd7c-8d1c-42af-a438-3c1752a452dc" providerId="ADAL" clId="{5942D110-875B-42FB-AC8A-CA70EB9445B0}" dt="2020-11-15T16:28:32.402" v="2011"/>
          <ac:cxnSpMkLst>
            <pc:docMk/>
            <pc:sldMk cId="4044565450" sldId="350"/>
            <ac:cxnSpMk id="251" creationId="{CE0555FC-7D28-4819-893C-F730AED3521E}"/>
          </ac:cxnSpMkLst>
        </pc:cxnChg>
        <pc:cxnChg chg="mod">
          <ac:chgData name="Henry" userId="02f5dd7c-8d1c-42af-a438-3c1752a452dc" providerId="ADAL" clId="{5942D110-875B-42FB-AC8A-CA70EB9445B0}" dt="2020-11-15T16:28:32.402" v="2011"/>
          <ac:cxnSpMkLst>
            <pc:docMk/>
            <pc:sldMk cId="4044565450" sldId="350"/>
            <ac:cxnSpMk id="259" creationId="{FE572CF0-C780-4552-9055-5768F79A2FDC}"/>
          </ac:cxnSpMkLst>
        </pc:cxnChg>
        <pc:cxnChg chg="mod">
          <ac:chgData name="Henry" userId="02f5dd7c-8d1c-42af-a438-3c1752a452dc" providerId="ADAL" clId="{5942D110-875B-42FB-AC8A-CA70EB9445B0}" dt="2020-11-15T16:28:32.402" v="2011"/>
          <ac:cxnSpMkLst>
            <pc:docMk/>
            <pc:sldMk cId="4044565450" sldId="350"/>
            <ac:cxnSpMk id="260" creationId="{A158F207-A559-478E-936B-873D5F2BC666}"/>
          </ac:cxnSpMkLst>
        </pc:cxnChg>
        <pc:cxnChg chg="mod">
          <ac:chgData name="Henry" userId="02f5dd7c-8d1c-42af-a438-3c1752a452dc" providerId="ADAL" clId="{5942D110-875B-42FB-AC8A-CA70EB9445B0}" dt="2020-11-15T16:28:32.402" v="2011"/>
          <ac:cxnSpMkLst>
            <pc:docMk/>
            <pc:sldMk cId="4044565450" sldId="350"/>
            <ac:cxnSpMk id="267" creationId="{B48B2ADD-22D1-42BB-BC98-797C651496ED}"/>
          </ac:cxnSpMkLst>
        </pc:cxnChg>
        <pc:cxnChg chg="mod">
          <ac:chgData name="Henry" userId="02f5dd7c-8d1c-42af-a438-3c1752a452dc" providerId="ADAL" clId="{5942D110-875B-42FB-AC8A-CA70EB9445B0}" dt="2020-11-15T16:28:32.402" v="2011"/>
          <ac:cxnSpMkLst>
            <pc:docMk/>
            <pc:sldMk cId="4044565450" sldId="350"/>
            <ac:cxnSpMk id="268" creationId="{CC344838-E485-4F7B-B123-4FF2C4338EAF}"/>
          </ac:cxnSpMkLst>
        </pc:cxnChg>
        <pc:cxnChg chg="mod">
          <ac:chgData name="Henry" userId="02f5dd7c-8d1c-42af-a438-3c1752a452dc" providerId="ADAL" clId="{5942D110-875B-42FB-AC8A-CA70EB9445B0}" dt="2020-11-15T16:28:32.402" v="2011"/>
          <ac:cxnSpMkLst>
            <pc:docMk/>
            <pc:sldMk cId="4044565450" sldId="350"/>
            <ac:cxnSpMk id="273" creationId="{34438B8F-7D27-4BCE-A4D0-21367AD523D6}"/>
          </ac:cxnSpMkLst>
        </pc:cxnChg>
        <pc:cxnChg chg="mod">
          <ac:chgData name="Henry" userId="02f5dd7c-8d1c-42af-a438-3c1752a452dc" providerId="ADAL" clId="{5942D110-875B-42FB-AC8A-CA70EB9445B0}" dt="2020-11-15T16:28:32.402" v="2011"/>
          <ac:cxnSpMkLst>
            <pc:docMk/>
            <pc:sldMk cId="4044565450" sldId="350"/>
            <ac:cxnSpMk id="274" creationId="{4B48A2E6-C6A6-4166-A1F1-A6A36C6FB034}"/>
          </ac:cxnSpMkLst>
        </pc:cxnChg>
        <pc:cxnChg chg="add mod">
          <ac:chgData name="Henry" userId="02f5dd7c-8d1c-42af-a438-3c1752a452dc" providerId="ADAL" clId="{5942D110-875B-42FB-AC8A-CA70EB9445B0}" dt="2020-11-15T16:29:39.851" v="2017" actId="1076"/>
          <ac:cxnSpMkLst>
            <pc:docMk/>
            <pc:sldMk cId="4044565450" sldId="350"/>
            <ac:cxnSpMk id="276" creationId="{6CDB7A12-32F1-4E91-B1E9-56D46FC80850}"/>
          </ac:cxnSpMkLst>
        </pc:cxnChg>
        <pc:cxnChg chg="add mod">
          <ac:chgData name="Henry" userId="02f5dd7c-8d1c-42af-a438-3c1752a452dc" providerId="ADAL" clId="{5942D110-875B-42FB-AC8A-CA70EB9445B0}" dt="2020-11-15T16:31:19.769" v="2029" actId="1076"/>
          <ac:cxnSpMkLst>
            <pc:docMk/>
            <pc:sldMk cId="4044565450" sldId="350"/>
            <ac:cxnSpMk id="284" creationId="{D7F521A2-1D9F-44CD-A2AA-B564ACE1668E}"/>
          </ac:cxnSpMkLst>
        </pc:cxnChg>
      </pc:sldChg>
      <pc:sldChg chg="addSp delSp modSp add mod modNotesTx">
        <pc:chgData name="Henry" userId="02f5dd7c-8d1c-42af-a438-3c1752a452dc" providerId="ADAL" clId="{5942D110-875B-42FB-AC8A-CA70EB9445B0}" dt="2020-11-19T16:32:17.391" v="13703" actId="20577"/>
        <pc:sldMkLst>
          <pc:docMk/>
          <pc:sldMk cId="1453539241" sldId="351"/>
        </pc:sldMkLst>
        <pc:spChg chg="add del mod">
          <ac:chgData name="Henry" userId="02f5dd7c-8d1c-42af-a438-3c1752a452dc" providerId="ADAL" clId="{5942D110-875B-42FB-AC8A-CA70EB9445B0}" dt="2020-11-18T17:29:57.864" v="4695" actId="478"/>
          <ac:spMkLst>
            <pc:docMk/>
            <pc:sldMk cId="1453539241" sldId="351"/>
            <ac:spMk id="3" creationId="{3A70194A-BE75-4861-B157-6BAA3FCCD956}"/>
          </ac:spMkLst>
        </pc:spChg>
        <pc:spChg chg="add mod">
          <ac:chgData name="Henry" userId="02f5dd7c-8d1c-42af-a438-3c1752a452dc" providerId="ADAL" clId="{5942D110-875B-42FB-AC8A-CA70EB9445B0}" dt="2020-11-19T16:29:33.231" v="13196" actId="1076"/>
          <ac:spMkLst>
            <pc:docMk/>
            <pc:sldMk cId="1453539241" sldId="351"/>
            <ac:spMk id="4" creationId="{19FAC423-B37F-4A39-80E7-FC6B194988EB}"/>
          </ac:spMkLst>
        </pc:spChg>
        <pc:spChg chg="mod">
          <ac:chgData name="Henry" userId="02f5dd7c-8d1c-42af-a438-3c1752a452dc" providerId="ADAL" clId="{5942D110-875B-42FB-AC8A-CA70EB9445B0}" dt="2020-11-18T17:28:52.843" v="4660" actId="20577"/>
          <ac:spMkLst>
            <pc:docMk/>
            <pc:sldMk cId="1453539241" sldId="351"/>
            <ac:spMk id="5" creationId="{F5E7AF60-05A5-E846-8FE2-463486EF3220}"/>
          </ac:spMkLst>
        </pc:spChg>
        <pc:spChg chg="mod">
          <ac:chgData name="Henry" userId="02f5dd7c-8d1c-42af-a438-3c1752a452dc" providerId="ADAL" clId="{5942D110-875B-42FB-AC8A-CA70EB9445B0}" dt="2020-11-18T17:40:07.394" v="4870" actId="20577"/>
          <ac:spMkLst>
            <pc:docMk/>
            <pc:sldMk cId="1453539241" sldId="351"/>
            <ac:spMk id="91" creationId="{248BB64A-2681-154D-A068-C8F7AB789180}"/>
          </ac:spMkLst>
        </pc:spChg>
        <pc:spChg chg="add del mod">
          <ac:chgData name="Henry" userId="02f5dd7c-8d1c-42af-a438-3c1752a452dc" providerId="ADAL" clId="{5942D110-875B-42FB-AC8A-CA70EB9445B0}" dt="2020-11-15T16:39:09.763" v="2112"/>
          <ac:spMkLst>
            <pc:docMk/>
            <pc:sldMk cId="1453539241" sldId="351"/>
            <ac:spMk id="108" creationId="{4AC08D59-3115-47C2-ACD4-43D6CEC8F742}"/>
          </ac:spMkLst>
        </pc:spChg>
        <pc:spChg chg="add del mod">
          <ac:chgData name="Henry" userId="02f5dd7c-8d1c-42af-a438-3c1752a452dc" providerId="ADAL" clId="{5942D110-875B-42FB-AC8A-CA70EB9445B0}" dt="2020-11-15T16:39:09.763" v="2112"/>
          <ac:spMkLst>
            <pc:docMk/>
            <pc:sldMk cId="1453539241" sldId="351"/>
            <ac:spMk id="109" creationId="{B9EAD934-9784-4BCB-9C70-8DCE6CAB48A7}"/>
          </ac:spMkLst>
        </pc:spChg>
        <pc:spChg chg="add del mod">
          <ac:chgData name="Henry" userId="02f5dd7c-8d1c-42af-a438-3c1752a452dc" providerId="ADAL" clId="{5942D110-875B-42FB-AC8A-CA70EB9445B0}" dt="2020-11-15T16:39:09.763" v="2112"/>
          <ac:spMkLst>
            <pc:docMk/>
            <pc:sldMk cId="1453539241" sldId="351"/>
            <ac:spMk id="110" creationId="{071031C3-C5FC-41D5-8167-CD320A3D0568}"/>
          </ac:spMkLst>
        </pc:spChg>
        <pc:spChg chg="add del mod">
          <ac:chgData name="Henry" userId="02f5dd7c-8d1c-42af-a438-3c1752a452dc" providerId="ADAL" clId="{5942D110-875B-42FB-AC8A-CA70EB9445B0}" dt="2020-11-15T16:39:09.763" v="2112"/>
          <ac:spMkLst>
            <pc:docMk/>
            <pc:sldMk cId="1453539241" sldId="351"/>
            <ac:spMk id="111" creationId="{5E9355E9-5462-4F45-ABC0-8083FFB3F06E}"/>
          </ac:spMkLst>
        </pc:spChg>
        <pc:spChg chg="add del mod">
          <ac:chgData name="Henry" userId="02f5dd7c-8d1c-42af-a438-3c1752a452dc" providerId="ADAL" clId="{5942D110-875B-42FB-AC8A-CA70EB9445B0}" dt="2020-11-15T16:39:09.763" v="2112"/>
          <ac:spMkLst>
            <pc:docMk/>
            <pc:sldMk cId="1453539241" sldId="351"/>
            <ac:spMk id="112" creationId="{E7D55F1E-68FB-4BA5-8A66-EFF75692C467}"/>
          </ac:spMkLst>
        </pc:spChg>
        <pc:spChg chg="add del mod">
          <ac:chgData name="Henry" userId="02f5dd7c-8d1c-42af-a438-3c1752a452dc" providerId="ADAL" clId="{5942D110-875B-42FB-AC8A-CA70EB9445B0}" dt="2020-11-15T16:39:09.763" v="2112"/>
          <ac:spMkLst>
            <pc:docMk/>
            <pc:sldMk cId="1453539241" sldId="351"/>
            <ac:spMk id="113" creationId="{492D9F92-CF3D-4E3E-881B-81FE20DB4F61}"/>
          </ac:spMkLst>
        </pc:spChg>
        <pc:spChg chg="add del mod">
          <ac:chgData name="Henry" userId="02f5dd7c-8d1c-42af-a438-3c1752a452dc" providerId="ADAL" clId="{5942D110-875B-42FB-AC8A-CA70EB9445B0}" dt="2020-11-15T16:39:09.763" v="2112"/>
          <ac:spMkLst>
            <pc:docMk/>
            <pc:sldMk cId="1453539241" sldId="351"/>
            <ac:spMk id="114" creationId="{26D1BC9F-9855-4F99-9C2E-070C2BEBA647}"/>
          </ac:spMkLst>
        </pc:spChg>
        <pc:spChg chg="add del mod">
          <ac:chgData name="Henry" userId="02f5dd7c-8d1c-42af-a438-3c1752a452dc" providerId="ADAL" clId="{5942D110-875B-42FB-AC8A-CA70EB9445B0}" dt="2020-11-15T16:39:09.763" v="2112"/>
          <ac:spMkLst>
            <pc:docMk/>
            <pc:sldMk cId="1453539241" sldId="351"/>
            <ac:spMk id="115" creationId="{37CC3ED8-A804-4B2E-BCEE-06CDB5951259}"/>
          </ac:spMkLst>
        </pc:spChg>
        <pc:spChg chg="add del mod">
          <ac:chgData name="Henry" userId="02f5dd7c-8d1c-42af-a438-3c1752a452dc" providerId="ADAL" clId="{5942D110-875B-42FB-AC8A-CA70EB9445B0}" dt="2020-11-15T16:39:09.763" v="2112"/>
          <ac:spMkLst>
            <pc:docMk/>
            <pc:sldMk cId="1453539241" sldId="351"/>
            <ac:spMk id="116" creationId="{EB0CBE08-0FD4-49AE-94A6-DE3759784C48}"/>
          </ac:spMkLst>
        </pc:spChg>
        <pc:spChg chg="add del mod">
          <ac:chgData name="Henry" userId="02f5dd7c-8d1c-42af-a438-3c1752a452dc" providerId="ADAL" clId="{5942D110-875B-42FB-AC8A-CA70EB9445B0}" dt="2020-11-15T16:39:09.763" v="2112"/>
          <ac:spMkLst>
            <pc:docMk/>
            <pc:sldMk cId="1453539241" sldId="351"/>
            <ac:spMk id="117" creationId="{8A7F2798-DF0C-42C3-AE0C-13CF8FF2AB4A}"/>
          </ac:spMkLst>
        </pc:spChg>
        <pc:spChg chg="add del mod">
          <ac:chgData name="Henry" userId="02f5dd7c-8d1c-42af-a438-3c1752a452dc" providerId="ADAL" clId="{5942D110-875B-42FB-AC8A-CA70EB9445B0}" dt="2020-11-15T16:39:09.763" v="2112"/>
          <ac:spMkLst>
            <pc:docMk/>
            <pc:sldMk cId="1453539241" sldId="351"/>
            <ac:spMk id="118" creationId="{49E83E85-2B26-4C59-BE08-8B2CF79206F2}"/>
          </ac:spMkLst>
        </pc:spChg>
        <pc:spChg chg="add del mod">
          <ac:chgData name="Henry" userId="02f5dd7c-8d1c-42af-a438-3c1752a452dc" providerId="ADAL" clId="{5942D110-875B-42FB-AC8A-CA70EB9445B0}" dt="2020-11-15T16:39:09.763" v="2112"/>
          <ac:spMkLst>
            <pc:docMk/>
            <pc:sldMk cId="1453539241" sldId="351"/>
            <ac:spMk id="121" creationId="{F06F2E6B-CD07-47FA-B887-EBF0146CF16C}"/>
          </ac:spMkLst>
        </pc:spChg>
        <pc:spChg chg="add del mod">
          <ac:chgData name="Henry" userId="02f5dd7c-8d1c-42af-a438-3c1752a452dc" providerId="ADAL" clId="{5942D110-875B-42FB-AC8A-CA70EB9445B0}" dt="2020-11-15T16:39:09.763" v="2112"/>
          <ac:spMkLst>
            <pc:docMk/>
            <pc:sldMk cId="1453539241" sldId="351"/>
            <ac:spMk id="122" creationId="{EBB27C6B-382B-4BA7-917B-E738FAD3A904}"/>
          </ac:spMkLst>
        </pc:spChg>
        <pc:spChg chg="add del mod">
          <ac:chgData name="Henry" userId="02f5dd7c-8d1c-42af-a438-3c1752a452dc" providerId="ADAL" clId="{5942D110-875B-42FB-AC8A-CA70EB9445B0}" dt="2020-11-15T16:39:09.763" v="2112"/>
          <ac:spMkLst>
            <pc:docMk/>
            <pc:sldMk cId="1453539241" sldId="351"/>
            <ac:spMk id="123" creationId="{9A1982AE-CEDD-4782-87DF-34E377D9CDE7}"/>
          </ac:spMkLst>
        </pc:spChg>
        <pc:spChg chg="add del mod">
          <ac:chgData name="Henry" userId="02f5dd7c-8d1c-42af-a438-3c1752a452dc" providerId="ADAL" clId="{5942D110-875B-42FB-AC8A-CA70EB9445B0}" dt="2020-11-15T16:39:09.763" v="2112"/>
          <ac:spMkLst>
            <pc:docMk/>
            <pc:sldMk cId="1453539241" sldId="351"/>
            <ac:spMk id="126" creationId="{F8AD1108-FC35-4791-BB78-446FE911E1B6}"/>
          </ac:spMkLst>
        </pc:spChg>
        <pc:spChg chg="add del mod">
          <ac:chgData name="Henry" userId="02f5dd7c-8d1c-42af-a438-3c1752a452dc" providerId="ADAL" clId="{5942D110-875B-42FB-AC8A-CA70EB9445B0}" dt="2020-11-15T16:39:09.763" v="2112"/>
          <ac:spMkLst>
            <pc:docMk/>
            <pc:sldMk cId="1453539241" sldId="351"/>
            <ac:spMk id="129" creationId="{DCDBBBCD-3852-493E-905A-35BCCFCFDB8F}"/>
          </ac:spMkLst>
        </pc:spChg>
        <pc:spChg chg="add del mod">
          <ac:chgData name="Henry" userId="02f5dd7c-8d1c-42af-a438-3c1752a452dc" providerId="ADAL" clId="{5942D110-875B-42FB-AC8A-CA70EB9445B0}" dt="2020-11-15T16:39:09.763" v="2112"/>
          <ac:spMkLst>
            <pc:docMk/>
            <pc:sldMk cId="1453539241" sldId="351"/>
            <ac:spMk id="132" creationId="{D939EA9A-EBFC-4095-875C-5E96A3D53A37}"/>
          </ac:spMkLst>
        </pc:spChg>
        <pc:spChg chg="del">
          <ac:chgData name="Henry" userId="02f5dd7c-8d1c-42af-a438-3c1752a452dc" providerId="ADAL" clId="{5942D110-875B-42FB-AC8A-CA70EB9445B0}" dt="2020-11-15T16:38:41.057" v="2101" actId="478"/>
          <ac:spMkLst>
            <pc:docMk/>
            <pc:sldMk cId="1453539241" sldId="351"/>
            <ac:spMk id="194" creationId="{E0819E7D-004E-4A66-BB28-432D755108C0}"/>
          </ac:spMkLst>
        </pc:spChg>
        <pc:spChg chg="del">
          <ac:chgData name="Henry" userId="02f5dd7c-8d1c-42af-a438-3c1752a452dc" providerId="ADAL" clId="{5942D110-875B-42FB-AC8A-CA70EB9445B0}" dt="2020-11-15T16:38:41.057" v="2101" actId="478"/>
          <ac:spMkLst>
            <pc:docMk/>
            <pc:sldMk cId="1453539241" sldId="351"/>
            <ac:spMk id="195" creationId="{A1C5730B-BBEA-4E55-A968-B505143430FC}"/>
          </ac:spMkLst>
        </pc:spChg>
        <pc:spChg chg="del">
          <ac:chgData name="Henry" userId="02f5dd7c-8d1c-42af-a438-3c1752a452dc" providerId="ADAL" clId="{5942D110-875B-42FB-AC8A-CA70EB9445B0}" dt="2020-11-15T16:38:41.057" v="2101" actId="478"/>
          <ac:spMkLst>
            <pc:docMk/>
            <pc:sldMk cId="1453539241" sldId="351"/>
            <ac:spMk id="196" creationId="{24D9371E-2990-4D0D-83F4-606EC634D193}"/>
          </ac:spMkLst>
        </pc:spChg>
        <pc:spChg chg="del">
          <ac:chgData name="Henry" userId="02f5dd7c-8d1c-42af-a438-3c1752a452dc" providerId="ADAL" clId="{5942D110-875B-42FB-AC8A-CA70EB9445B0}" dt="2020-11-15T16:38:41.057" v="2101" actId="478"/>
          <ac:spMkLst>
            <pc:docMk/>
            <pc:sldMk cId="1453539241" sldId="351"/>
            <ac:spMk id="210" creationId="{E44B223A-1A90-44DB-BE70-309C23F3ECE0}"/>
          </ac:spMkLst>
        </pc:spChg>
        <pc:spChg chg="del">
          <ac:chgData name="Henry" userId="02f5dd7c-8d1c-42af-a438-3c1752a452dc" providerId="ADAL" clId="{5942D110-875B-42FB-AC8A-CA70EB9445B0}" dt="2020-11-15T16:38:41.057" v="2101" actId="478"/>
          <ac:spMkLst>
            <pc:docMk/>
            <pc:sldMk cId="1453539241" sldId="351"/>
            <ac:spMk id="219" creationId="{C422C084-C05C-488D-B178-63BCE321DF8B}"/>
          </ac:spMkLst>
        </pc:spChg>
        <pc:spChg chg="del">
          <ac:chgData name="Henry" userId="02f5dd7c-8d1c-42af-a438-3c1752a452dc" providerId="ADAL" clId="{5942D110-875B-42FB-AC8A-CA70EB9445B0}" dt="2020-11-15T16:38:43.420" v="2102" actId="478"/>
          <ac:spMkLst>
            <pc:docMk/>
            <pc:sldMk cId="1453539241" sldId="351"/>
            <ac:spMk id="222" creationId="{E643EFC5-24EF-4652-8EB5-C3FA8BDC50AA}"/>
          </ac:spMkLst>
        </pc:spChg>
        <pc:spChg chg="del">
          <ac:chgData name="Henry" userId="02f5dd7c-8d1c-42af-a438-3c1752a452dc" providerId="ADAL" clId="{5942D110-875B-42FB-AC8A-CA70EB9445B0}" dt="2020-11-15T16:38:43.420" v="2102" actId="478"/>
          <ac:spMkLst>
            <pc:docMk/>
            <pc:sldMk cId="1453539241" sldId="351"/>
            <ac:spMk id="223" creationId="{671C3BC2-31D6-44DE-9263-54B2CB412431}"/>
          </ac:spMkLst>
        </pc:spChg>
        <pc:spChg chg="del">
          <ac:chgData name="Henry" userId="02f5dd7c-8d1c-42af-a438-3c1752a452dc" providerId="ADAL" clId="{5942D110-875B-42FB-AC8A-CA70EB9445B0}" dt="2020-11-15T16:38:43.420" v="2102" actId="478"/>
          <ac:spMkLst>
            <pc:docMk/>
            <pc:sldMk cId="1453539241" sldId="351"/>
            <ac:spMk id="237" creationId="{9CAE4A56-614D-43D2-B766-73C1597143A2}"/>
          </ac:spMkLst>
        </pc:spChg>
        <pc:spChg chg="del">
          <ac:chgData name="Henry" userId="02f5dd7c-8d1c-42af-a438-3c1752a452dc" providerId="ADAL" clId="{5942D110-875B-42FB-AC8A-CA70EB9445B0}" dt="2020-11-15T16:38:47.255" v="2104" actId="478"/>
          <ac:spMkLst>
            <pc:docMk/>
            <pc:sldMk cId="1453539241" sldId="351"/>
            <ac:spMk id="253" creationId="{F50486E4-5D0E-4143-AD84-8970939C074E}"/>
          </ac:spMkLst>
        </pc:spChg>
        <pc:spChg chg="del">
          <ac:chgData name="Henry" userId="02f5dd7c-8d1c-42af-a438-3c1752a452dc" providerId="ADAL" clId="{5942D110-875B-42FB-AC8A-CA70EB9445B0}" dt="2020-11-15T16:38:45.695" v="2103" actId="478"/>
          <ac:spMkLst>
            <pc:docMk/>
            <pc:sldMk cId="1453539241" sldId="351"/>
            <ac:spMk id="254" creationId="{B38C55F2-FBE0-4484-B65C-C6E81FF70B2E}"/>
          </ac:spMkLst>
        </pc:spChg>
        <pc:spChg chg="del">
          <ac:chgData name="Henry" userId="02f5dd7c-8d1c-42af-a438-3c1752a452dc" providerId="ADAL" clId="{5942D110-875B-42FB-AC8A-CA70EB9445B0}" dt="2020-11-15T16:38:41.057" v="2101" actId="478"/>
          <ac:spMkLst>
            <pc:docMk/>
            <pc:sldMk cId="1453539241" sldId="351"/>
            <ac:spMk id="281" creationId="{7E3EA37E-88D4-4A54-A7A3-130EB16F4DB9}"/>
          </ac:spMkLst>
        </pc:spChg>
        <pc:spChg chg="del">
          <ac:chgData name="Henry" userId="02f5dd7c-8d1c-42af-a438-3c1752a452dc" providerId="ADAL" clId="{5942D110-875B-42FB-AC8A-CA70EB9445B0}" dt="2020-11-15T16:38:43.420" v="2102" actId="478"/>
          <ac:spMkLst>
            <pc:docMk/>
            <pc:sldMk cId="1453539241" sldId="351"/>
            <ac:spMk id="282" creationId="{FC89D62E-DAA2-46F0-9727-CAF4FAA67E59}"/>
          </ac:spMkLst>
        </pc:spChg>
        <pc:spChg chg="del">
          <ac:chgData name="Henry" userId="02f5dd7c-8d1c-42af-a438-3c1752a452dc" providerId="ADAL" clId="{5942D110-875B-42FB-AC8A-CA70EB9445B0}" dt="2020-11-15T16:38:45.695" v="2103" actId="478"/>
          <ac:spMkLst>
            <pc:docMk/>
            <pc:sldMk cId="1453539241" sldId="351"/>
            <ac:spMk id="283" creationId="{3943DEE4-475C-4831-A3E9-27C136E3AF3B}"/>
          </ac:spMkLst>
        </pc:spChg>
        <pc:grpChg chg="del">
          <ac:chgData name="Henry" userId="02f5dd7c-8d1c-42af-a438-3c1752a452dc" providerId="ADAL" clId="{5942D110-875B-42FB-AC8A-CA70EB9445B0}" dt="2020-11-15T16:38:41.057" v="2101" actId="478"/>
          <ac:grpSpMkLst>
            <pc:docMk/>
            <pc:sldMk cId="1453539241" sldId="351"/>
            <ac:grpSpMk id="185" creationId="{0E7A0896-01B8-4BA0-86AD-CC56572206E4}"/>
          </ac:grpSpMkLst>
        </pc:grpChg>
        <pc:grpChg chg="del">
          <ac:chgData name="Henry" userId="02f5dd7c-8d1c-42af-a438-3c1752a452dc" providerId="ADAL" clId="{5942D110-875B-42FB-AC8A-CA70EB9445B0}" dt="2020-11-15T16:38:41.057" v="2101" actId="478"/>
          <ac:grpSpMkLst>
            <pc:docMk/>
            <pc:sldMk cId="1453539241" sldId="351"/>
            <ac:grpSpMk id="197" creationId="{ABC2B113-B556-42E8-8E4F-445CA5E326A6}"/>
          </ac:grpSpMkLst>
        </pc:grpChg>
        <pc:grpChg chg="del">
          <ac:chgData name="Henry" userId="02f5dd7c-8d1c-42af-a438-3c1752a452dc" providerId="ADAL" clId="{5942D110-875B-42FB-AC8A-CA70EB9445B0}" dt="2020-11-15T16:38:41.057" v="2101" actId="478"/>
          <ac:grpSpMkLst>
            <pc:docMk/>
            <pc:sldMk cId="1453539241" sldId="351"/>
            <ac:grpSpMk id="206" creationId="{0DBCAE63-F937-44CC-B476-9EBC8B549668}"/>
          </ac:grpSpMkLst>
        </pc:grpChg>
        <pc:grpChg chg="del">
          <ac:chgData name="Henry" userId="02f5dd7c-8d1c-42af-a438-3c1752a452dc" providerId="ADAL" clId="{5942D110-875B-42FB-AC8A-CA70EB9445B0}" dt="2020-11-15T16:38:41.057" v="2101" actId="478"/>
          <ac:grpSpMkLst>
            <pc:docMk/>
            <pc:sldMk cId="1453539241" sldId="351"/>
            <ac:grpSpMk id="212" creationId="{8162CA60-8C70-4372-BDBD-AE192869C741}"/>
          </ac:grpSpMkLst>
        </pc:grpChg>
        <pc:grpChg chg="del">
          <ac:chgData name="Henry" userId="02f5dd7c-8d1c-42af-a438-3c1752a452dc" providerId="ADAL" clId="{5942D110-875B-42FB-AC8A-CA70EB9445B0}" dt="2020-11-15T16:38:43.420" v="2102" actId="478"/>
          <ac:grpSpMkLst>
            <pc:docMk/>
            <pc:sldMk cId="1453539241" sldId="351"/>
            <ac:grpSpMk id="224" creationId="{3BB4BC3E-BE39-4F3E-97AA-E13D78E9814A}"/>
          </ac:grpSpMkLst>
        </pc:grpChg>
        <pc:grpChg chg="del">
          <ac:chgData name="Henry" userId="02f5dd7c-8d1c-42af-a438-3c1752a452dc" providerId="ADAL" clId="{5942D110-875B-42FB-AC8A-CA70EB9445B0}" dt="2020-11-15T16:38:43.420" v="2102" actId="478"/>
          <ac:grpSpMkLst>
            <pc:docMk/>
            <pc:sldMk cId="1453539241" sldId="351"/>
            <ac:grpSpMk id="233" creationId="{3B897465-E982-4448-A100-A08E6F531BCC}"/>
          </ac:grpSpMkLst>
        </pc:grpChg>
        <pc:grpChg chg="del">
          <ac:chgData name="Henry" userId="02f5dd7c-8d1c-42af-a438-3c1752a452dc" providerId="ADAL" clId="{5942D110-875B-42FB-AC8A-CA70EB9445B0}" dt="2020-11-15T16:38:43.420" v="2102" actId="478"/>
          <ac:grpSpMkLst>
            <pc:docMk/>
            <pc:sldMk cId="1453539241" sldId="351"/>
            <ac:grpSpMk id="239" creationId="{3B6AC4A1-8A69-4FBC-BD51-CDB43BD6668A}"/>
          </ac:grpSpMkLst>
        </pc:grpChg>
        <pc:grpChg chg="del">
          <ac:chgData name="Henry" userId="02f5dd7c-8d1c-42af-a438-3c1752a452dc" providerId="ADAL" clId="{5942D110-875B-42FB-AC8A-CA70EB9445B0}" dt="2020-11-15T16:38:43.420" v="2102" actId="478"/>
          <ac:grpSpMkLst>
            <pc:docMk/>
            <pc:sldMk cId="1453539241" sldId="351"/>
            <ac:grpSpMk id="244" creationId="{8218266E-1BBC-40EC-BF0B-5FD24A85105F}"/>
          </ac:grpSpMkLst>
        </pc:grpChg>
        <pc:grpChg chg="del">
          <ac:chgData name="Henry" userId="02f5dd7c-8d1c-42af-a438-3c1752a452dc" providerId="ADAL" clId="{5942D110-875B-42FB-AC8A-CA70EB9445B0}" dt="2020-11-15T16:38:43.420" v="2102" actId="478"/>
          <ac:grpSpMkLst>
            <pc:docMk/>
            <pc:sldMk cId="1453539241" sldId="351"/>
            <ac:grpSpMk id="247" creationId="{7B564D07-C93A-4697-8A4E-45A35FE74B38}"/>
          </ac:grpSpMkLst>
        </pc:grpChg>
        <pc:grpChg chg="del">
          <ac:chgData name="Henry" userId="02f5dd7c-8d1c-42af-a438-3c1752a452dc" providerId="ADAL" clId="{5942D110-875B-42FB-AC8A-CA70EB9445B0}" dt="2020-11-15T16:38:48.361" v="2105" actId="478"/>
          <ac:grpSpMkLst>
            <pc:docMk/>
            <pc:sldMk cId="1453539241" sldId="351"/>
            <ac:grpSpMk id="255" creationId="{40685E2F-2100-46C8-9285-DB3607D7F347}"/>
          </ac:grpSpMkLst>
        </pc:grpChg>
        <pc:grpChg chg="del">
          <ac:chgData name="Henry" userId="02f5dd7c-8d1c-42af-a438-3c1752a452dc" providerId="ADAL" clId="{5942D110-875B-42FB-AC8A-CA70EB9445B0}" dt="2020-11-15T16:38:45.695" v="2103" actId="478"/>
          <ac:grpSpMkLst>
            <pc:docMk/>
            <pc:sldMk cId="1453539241" sldId="351"/>
            <ac:grpSpMk id="264" creationId="{4C2B2EFA-4177-4D92-8567-F611735188C2}"/>
          </ac:grpSpMkLst>
        </pc:grpChg>
        <pc:grpChg chg="del">
          <ac:chgData name="Henry" userId="02f5dd7c-8d1c-42af-a438-3c1752a452dc" providerId="ADAL" clId="{5942D110-875B-42FB-AC8A-CA70EB9445B0}" dt="2020-11-15T16:38:49.219" v="2106" actId="478"/>
          <ac:grpSpMkLst>
            <pc:docMk/>
            <pc:sldMk cId="1453539241" sldId="351"/>
            <ac:grpSpMk id="270" creationId="{6B243917-A8ED-4855-98E1-373BE0EFABA0}"/>
          </ac:grpSpMkLst>
        </pc:grpChg>
        <pc:grpChg chg="del">
          <ac:chgData name="Henry" userId="02f5dd7c-8d1c-42af-a438-3c1752a452dc" providerId="ADAL" clId="{5942D110-875B-42FB-AC8A-CA70EB9445B0}" dt="2020-11-15T16:38:45.695" v="2103" actId="478"/>
          <ac:grpSpMkLst>
            <pc:docMk/>
            <pc:sldMk cId="1453539241" sldId="351"/>
            <ac:grpSpMk id="277" creationId="{9013A9ED-AC64-49D3-AA1B-7A7DA23FECC3}"/>
          </ac:grpSpMkLst>
        </pc:grpChg>
        <pc:grpChg chg="del">
          <ac:chgData name="Henry" userId="02f5dd7c-8d1c-42af-a438-3c1752a452dc" providerId="ADAL" clId="{5942D110-875B-42FB-AC8A-CA70EB9445B0}" dt="2020-11-15T16:38:41.057" v="2101" actId="478"/>
          <ac:grpSpMkLst>
            <pc:docMk/>
            <pc:sldMk cId="1453539241" sldId="351"/>
            <ac:grpSpMk id="285" creationId="{5473AD4B-98A9-4954-A2D2-A0F2E7F31494}"/>
          </ac:grpSpMkLst>
        </pc:grpChg>
        <pc:picChg chg="del">
          <ac:chgData name="Henry" userId="02f5dd7c-8d1c-42af-a438-3c1752a452dc" providerId="ADAL" clId="{5942D110-875B-42FB-AC8A-CA70EB9445B0}" dt="2020-11-15T16:38:43.420" v="2102" actId="478"/>
          <ac:picMkLst>
            <pc:docMk/>
            <pc:sldMk cId="1453539241" sldId="351"/>
            <ac:picMk id="3" creationId="{F68FF915-7E33-4B88-A33B-7855E8E6214F}"/>
          </ac:picMkLst>
        </pc:picChg>
        <pc:picChg chg="del">
          <ac:chgData name="Henry" userId="02f5dd7c-8d1c-42af-a438-3c1752a452dc" providerId="ADAL" clId="{5942D110-875B-42FB-AC8A-CA70EB9445B0}" dt="2020-11-15T16:38:45.695" v="2103" actId="478"/>
          <ac:picMkLst>
            <pc:docMk/>
            <pc:sldMk cId="1453539241" sldId="351"/>
            <ac:picMk id="4" creationId="{C8C78E28-958E-4B1A-9761-75280527DE06}"/>
          </ac:picMkLst>
        </pc:picChg>
        <pc:picChg chg="add mod">
          <ac:chgData name="Henry" userId="02f5dd7c-8d1c-42af-a438-3c1752a452dc" providerId="ADAL" clId="{5942D110-875B-42FB-AC8A-CA70EB9445B0}" dt="2020-11-16T10:10:41.819" v="2820" actId="1076"/>
          <ac:picMkLst>
            <pc:docMk/>
            <pc:sldMk cId="1453539241" sldId="351"/>
            <ac:picMk id="16" creationId="{8E2EC459-AABA-4249-8152-514D5201A2FE}"/>
          </ac:picMkLst>
        </pc:picChg>
        <pc:picChg chg="del">
          <ac:chgData name="Henry" userId="02f5dd7c-8d1c-42af-a438-3c1752a452dc" providerId="ADAL" clId="{5942D110-875B-42FB-AC8A-CA70EB9445B0}" dt="2020-11-15T16:38:41.057" v="2101" actId="478"/>
          <ac:picMkLst>
            <pc:docMk/>
            <pc:sldMk cId="1453539241" sldId="351"/>
            <ac:picMk id="288" creationId="{9AF6C7F1-4B12-49F6-972A-1B5B4044A158}"/>
          </ac:picMkLst>
        </pc:picChg>
        <pc:cxnChg chg="add del mod">
          <ac:chgData name="Henry" userId="02f5dd7c-8d1c-42af-a438-3c1752a452dc" providerId="ADAL" clId="{5942D110-875B-42FB-AC8A-CA70EB9445B0}" dt="2020-11-15T16:39:09.763" v="2112"/>
          <ac:cxnSpMkLst>
            <pc:docMk/>
            <pc:sldMk cId="1453539241" sldId="351"/>
            <ac:cxnSpMk id="119" creationId="{7168DE49-AC1D-46ED-8D90-8797411929B0}"/>
          </ac:cxnSpMkLst>
        </pc:cxnChg>
        <pc:cxnChg chg="add del mod">
          <ac:chgData name="Henry" userId="02f5dd7c-8d1c-42af-a438-3c1752a452dc" providerId="ADAL" clId="{5942D110-875B-42FB-AC8A-CA70EB9445B0}" dt="2020-11-15T16:39:09.763" v="2112"/>
          <ac:cxnSpMkLst>
            <pc:docMk/>
            <pc:sldMk cId="1453539241" sldId="351"/>
            <ac:cxnSpMk id="120" creationId="{FC223724-B2AD-4A63-B570-FD7EEF1C1B29}"/>
          </ac:cxnSpMkLst>
        </pc:cxnChg>
        <pc:cxnChg chg="add del mod">
          <ac:chgData name="Henry" userId="02f5dd7c-8d1c-42af-a438-3c1752a452dc" providerId="ADAL" clId="{5942D110-875B-42FB-AC8A-CA70EB9445B0}" dt="2020-11-15T16:39:09.763" v="2112"/>
          <ac:cxnSpMkLst>
            <pc:docMk/>
            <pc:sldMk cId="1453539241" sldId="351"/>
            <ac:cxnSpMk id="124" creationId="{998D56B8-E7C2-4822-B7AF-6B3F52CDC511}"/>
          </ac:cxnSpMkLst>
        </pc:cxnChg>
        <pc:cxnChg chg="add del mod">
          <ac:chgData name="Henry" userId="02f5dd7c-8d1c-42af-a438-3c1752a452dc" providerId="ADAL" clId="{5942D110-875B-42FB-AC8A-CA70EB9445B0}" dt="2020-11-15T16:39:09.763" v="2112"/>
          <ac:cxnSpMkLst>
            <pc:docMk/>
            <pc:sldMk cId="1453539241" sldId="351"/>
            <ac:cxnSpMk id="125" creationId="{6DDD20F0-E6B6-4E5C-82F7-83E857A4F8CB}"/>
          </ac:cxnSpMkLst>
        </pc:cxnChg>
        <pc:cxnChg chg="add del mod">
          <ac:chgData name="Henry" userId="02f5dd7c-8d1c-42af-a438-3c1752a452dc" providerId="ADAL" clId="{5942D110-875B-42FB-AC8A-CA70EB9445B0}" dt="2020-11-15T16:39:09.763" v="2112"/>
          <ac:cxnSpMkLst>
            <pc:docMk/>
            <pc:sldMk cId="1453539241" sldId="351"/>
            <ac:cxnSpMk id="127" creationId="{D8CB05D0-0105-47B1-A7DD-AEA6A5B6A54E}"/>
          </ac:cxnSpMkLst>
        </pc:cxnChg>
        <pc:cxnChg chg="add del mod">
          <ac:chgData name="Henry" userId="02f5dd7c-8d1c-42af-a438-3c1752a452dc" providerId="ADAL" clId="{5942D110-875B-42FB-AC8A-CA70EB9445B0}" dt="2020-11-15T16:39:09.763" v="2112"/>
          <ac:cxnSpMkLst>
            <pc:docMk/>
            <pc:sldMk cId="1453539241" sldId="351"/>
            <ac:cxnSpMk id="128" creationId="{725D58FA-A43F-4C47-A69E-53EC430E4F12}"/>
          </ac:cxnSpMkLst>
        </pc:cxnChg>
        <pc:cxnChg chg="add del mod">
          <ac:chgData name="Henry" userId="02f5dd7c-8d1c-42af-a438-3c1752a452dc" providerId="ADAL" clId="{5942D110-875B-42FB-AC8A-CA70EB9445B0}" dt="2020-11-15T16:39:09.763" v="2112"/>
          <ac:cxnSpMkLst>
            <pc:docMk/>
            <pc:sldMk cId="1453539241" sldId="351"/>
            <ac:cxnSpMk id="130" creationId="{D70D8342-62A0-4D54-93E4-B2357ADB75E6}"/>
          </ac:cxnSpMkLst>
        </pc:cxnChg>
        <pc:cxnChg chg="add del mod">
          <ac:chgData name="Henry" userId="02f5dd7c-8d1c-42af-a438-3c1752a452dc" providerId="ADAL" clId="{5942D110-875B-42FB-AC8A-CA70EB9445B0}" dt="2020-11-15T16:39:09.763" v="2112"/>
          <ac:cxnSpMkLst>
            <pc:docMk/>
            <pc:sldMk cId="1453539241" sldId="351"/>
            <ac:cxnSpMk id="131" creationId="{F09013D4-91E6-4039-B512-1D1407B2CB25}"/>
          </ac:cxnSpMkLst>
        </pc:cxnChg>
        <pc:cxnChg chg="add del mod">
          <ac:chgData name="Henry" userId="02f5dd7c-8d1c-42af-a438-3c1752a452dc" providerId="ADAL" clId="{5942D110-875B-42FB-AC8A-CA70EB9445B0}" dt="2020-11-15T16:39:09.763" v="2112"/>
          <ac:cxnSpMkLst>
            <pc:docMk/>
            <pc:sldMk cId="1453539241" sldId="351"/>
            <ac:cxnSpMk id="133" creationId="{40867353-FE91-4347-A387-0815A9EA3D07}"/>
          </ac:cxnSpMkLst>
        </pc:cxnChg>
        <pc:cxnChg chg="add del mod">
          <ac:chgData name="Henry" userId="02f5dd7c-8d1c-42af-a438-3c1752a452dc" providerId="ADAL" clId="{5942D110-875B-42FB-AC8A-CA70EB9445B0}" dt="2020-11-15T16:39:09.763" v="2112"/>
          <ac:cxnSpMkLst>
            <pc:docMk/>
            <pc:sldMk cId="1453539241" sldId="351"/>
            <ac:cxnSpMk id="134" creationId="{1789F671-C075-426F-8598-61266774B985}"/>
          </ac:cxnSpMkLst>
        </pc:cxnChg>
        <pc:cxnChg chg="add del mod">
          <ac:chgData name="Henry" userId="02f5dd7c-8d1c-42af-a438-3c1752a452dc" providerId="ADAL" clId="{5942D110-875B-42FB-AC8A-CA70EB9445B0}" dt="2020-11-15T16:39:09.763" v="2112"/>
          <ac:cxnSpMkLst>
            <pc:docMk/>
            <pc:sldMk cId="1453539241" sldId="351"/>
            <ac:cxnSpMk id="135" creationId="{E926BA4D-F031-41DD-B8C1-47115C9F2165}"/>
          </ac:cxnSpMkLst>
        </pc:cxnChg>
        <pc:cxnChg chg="add del mod">
          <ac:chgData name="Henry" userId="02f5dd7c-8d1c-42af-a438-3c1752a452dc" providerId="ADAL" clId="{5942D110-875B-42FB-AC8A-CA70EB9445B0}" dt="2020-11-15T16:39:09.763" v="2112"/>
          <ac:cxnSpMkLst>
            <pc:docMk/>
            <pc:sldMk cId="1453539241" sldId="351"/>
            <ac:cxnSpMk id="136" creationId="{1B6A560E-6103-4F87-B56A-EAEE57800A94}"/>
          </ac:cxnSpMkLst>
        </pc:cxnChg>
        <pc:cxnChg chg="add del mod">
          <ac:chgData name="Henry" userId="02f5dd7c-8d1c-42af-a438-3c1752a452dc" providerId="ADAL" clId="{5942D110-875B-42FB-AC8A-CA70EB9445B0}" dt="2020-11-15T16:39:09.763" v="2112"/>
          <ac:cxnSpMkLst>
            <pc:docMk/>
            <pc:sldMk cId="1453539241" sldId="351"/>
            <ac:cxnSpMk id="137" creationId="{A4493031-FBA8-4772-94E3-4FC2390FF3E1}"/>
          </ac:cxnSpMkLst>
        </pc:cxnChg>
        <pc:cxnChg chg="add del mod">
          <ac:chgData name="Henry" userId="02f5dd7c-8d1c-42af-a438-3c1752a452dc" providerId="ADAL" clId="{5942D110-875B-42FB-AC8A-CA70EB9445B0}" dt="2020-11-15T16:39:09.763" v="2112"/>
          <ac:cxnSpMkLst>
            <pc:docMk/>
            <pc:sldMk cId="1453539241" sldId="351"/>
            <ac:cxnSpMk id="138" creationId="{B0576259-4081-4C8F-AC77-D8B3CE10ADE5}"/>
          </ac:cxnSpMkLst>
        </pc:cxnChg>
        <pc:cxnChg chg="del">
          <ac:chgData name="Henry" userId="02f5dd7c-8d1c-42af-a438-3c1752a452dc" providerId="ADAL" clId="{5942D110-875B-42FB-AC8A-CA70EB9445B0}" dt="2020-11-15T16:38:41.057" v="2101" actId="478"/>
          <ac:cxnSpMkLst>
            <pc:docMk/>
            <pc:sldMk cId="1453539241" sldId="351"/>
            <ac:cxnSpMk id="184" creationId="{BD998EAD-7DDC-4BFB-AF2F-7D88961303C6}"/>
          </ac:cxnSpMkLst>
        </pc:cxnChg>
        <pc:cxnChg chg="mod">
          <ac:chgData name="Henry" userId="02f5dd7c-8d1c-42af-a438-3c1752a452dc" providerId="ADAL" clId="{5942D110-875B-42FB-AC8A-CA70EB9445B0}" dt="2020-11-15T16:38:41.057" v="2101" actId="478"/>
          <ac:cxnSpMkLst>
            <pc:docMk/>
            <pc:sldMk cId="1453539241" sldId="351"/>
            <ac:cxnSpMk id="189" creationId="{A8E6264F-2185-42D5-BAF2-84CA2CE03107}"/>
          </ac:cxnSpMkLst>
        </pc:cxnChg>
        <pc:cxnChg chg="mod">
          <ac:chgData name="Henry" userId="02f5dd7c-8d1c-42af-a438-3c1752a452dc" providerId="ADAL" clId="{5942D110-875B-42FB-AC8A-CA70EB9445B0}" dt="2020-11-15T16:38:41.057" v="2101" actId="478"/>
          <ac:cxnSpMkLst>
            <pc:docMk/>
            <pc:sldMk cId="1453539241" sldId="351"/>
            <ac:cxnSpMk id="190" creationId="{ECD541B0-DAB1-4374-AA0A-F5DDF29E4ED9}"/>
          </ac:cxnSpMkLst>
        </pc:cxnChg>
        <pc:cxnChg chg="mod">
          <ac:chgData name="Henry" userId="02f5dd7c-8d1c-42af-a438-3c1752a452dc" providerId="ADAL" clId="{5942D110-875B-42FB-AC8A-CA70EB9445B0}" dt="2020-11-15T16:38:41.057" v="2101" actId="478"/>
          <ac:cxnSpMkLst>
            <pc:docMk/>
            <pc:sldMk cId="1453539241" sldId="351"/>
            <ac:cxnSpMk id="201" creationId="{EB11F342-3150-4CB2-9757-665DACA9EBCF}"/>
          </ac:cxnSpMkLst>
        </pc:cxnChg>
        <pc:cxnChg chg="mod">
          <ac:chgData name="Henry" userId="02f5dd7c-8d1c-42af-a438-3c1752a452dc" providerId="ADAL" clId="{5942D110-875B-42FB-AC8A-CA70EB9445B0}" dt="2020-11-15T16:38:41.057" v="2101" actId="478"/>
          <ac:cxnSpMkLst>
            <pc:docMk/>
            <pc:sldMk cId="1453539241" sldId="351"/>
            <ac:cxnSpMk id="202" creationId="{CAA27160-14FD-4F66-92B5-0A5C0D16BFD9}"/>
          </ac:cxnSpMkLst>
        </pc:cxnChg>
        <pc:cxnChg chg="mod">
          <ac:chgData name="Henry" userId="02f5dd7c-8d1c-42af-a438-3c1752a452dc" providerId="ADAL" clId="{5942D110-875B-42FB-AC8A-CA70EB9445B0}" dt="2020-11-15T16:38:41.057" v="2101" actId="478"/>
          <ac:cxnSpMkLst>
            <pc:docMk/>
            <pc:sldMk cId="1453539241" sldId="351"/>
            <ac:cxnSpMk id="207" creationId="{98BEA23B-26C1-44D9-997B-70B575F18034}"/>
          </ac:cxnSpMkLst>
        </pc:cxnChg>
        <pc:cxnChg chg="mod">
          <ac:chgData name="Henry" userId="02f5dd7c-8d1c-42af-a438-3c1752a452dc" providerId="ADAL" clId="{5942D110-875B-42FB-AC8A-CA70EB9445B0}" dt="2020-11-15T16:38:41.057" v="2101" actId="478"/>
          <ac:cxnSpMkLst>
            <pc:docMk/>
            <pc:sldMk cId="1453539241" sldId="351"/>
            <ac:cxnSpMk id="208" creationId="{ECE9E856-878F-4A4E-9687-41C8CD55B8BC}"/>
          </ac:cxnSpMkLst>
        </pc:cxnChg>
        <pc:cxnChg chg="del">
          <ac:chgData name="Henry" userId="02f5dd7c-8d1c-42af-a438-3c1752a452dc" providerId="ADAL" clId="{5942D110-875B-42FB-AC8A-CA70EB9445B0}" dt="2020-11-15T16:38:41.057" v="2101" actId="478"/>
          <ac:cxnSpMkLst>
            <pc:docMk/>
            <pc:sldMk cId="1453539241" sldId="351"/>
            <ac:cxnSpMk id="211" creationId="{8B9AA9FC-BC18-4924-B696-5FCD27CDBB76}"/>
          </ac:cxnSpMkLst>
        </pc:cxnChg>
        <pc:cxnChg chg="del">
          <ac:chgData name="Henry" userId="02f5dd7c-8d1c-42af-a438-3c1752a452dc" providerId="ADAL" clId="{5942D110-875B-42FB-AC8A-CA70EB9445B0}" dt="2020-11-15T16:38:41.057" v="2101" actId="478"/>
          <ac:cxnSpMkLst>
            <pc:docMk/>
            <pc:sldMk cId="1453539241" sldId="351"/>
            <ac:cxnSpMk id="220" creationId="{984387C9-302C-44AC-960C-B80CE8026E0A}"/>
          </ac:cxnSpMkLst>
        </pc:cxnChg>
        <pc:cxnChg chg="del">
          <ac:chgData name="Henry" userId="02f5dd7c-8d1c-42af-a438-3c1752a452dc" providerId="ADAL" clId="{5942D110-875B-42FB-AC8A-CA70EB9445B0}" dt="2020-11-15T16:38:41.057" v="2101" actId="478"/>
          <ac:cxnSpMkLst>
            <pc:docMk/>
            <pc:sldMk cId="1453539241" sldId="351"/>
            <ac:cxnSpMk id="221" creationId="{400064D0-9F44-4058-A53B-77B2004D971E}"/>
          </ac:cxnSpMkLst>
        </pc:cxnChg>
        <pc:cxnChg chg="mod">
          <ac:chgData name="Henry" userId="02f5dd7c-8d1c-42af-a438-3c1752a452dc" providerId="ADAL" clId="{5942D110-875B-42FB-AC8A-CA70EB9445B0}" dt="2020-11-15T16:38:43.420" v="2102" actId="478"/>
          <ac:cxnSpMkLst>
            <pc:docMk/>
            <pc:sldMk cId="1453539241" sldId="351"/>
            <ac:cxnSpMk id="228" creationId="{4163C52E-07C7-4829-9606-CB612B6760F3}"/>
          </ac:cxnSpMkLst>
        </pc:cxnChg>
        <pc:cxnChg chg="mod">
          <ac:chgData name="Henry" userId="02f5dd7c-8d1c-42af-a438-3c1752a452dc" providerId="ADAL" clId="{5942D110-875B-42FB-AC8A-CA70EB9445B0}" dt="2020-11-15T16:38:43.420" v="2102" actId="478"/>
          <ac:cxnSpMkLst>
            <pc:docMk/>
            <pc:sldMk cId="1453539241" sldId="351"/>
            <ac:cxnSpMk id="229" creationId="{2DA5F417-FF74-467E-95BC-12AD6066632F}"/>
          </ac:cxnSpMkLst>
        </pc:cxnChg>
        <pc:cxnChg chg="mod">
          <ac:chgData name="Henry" userId="02f5dd7c-8d1c-42af-a438-3c1752a452dc" providerId="ADAL" clId="{5942D110-875B-42FB-AC8A-CA70EB9445B0}" dt="2020-11-15T16:38:43.420" v="2102" actId="478"/>
          <ac:cxnSpMkLst>
            <pc:docMk/>
            <pc:sldMk cId="1453539241" sldId="351"/>
            <ac:cxnSpMk id="234" creationId="{E2A9AF88-929D-401D-9287-503428B72C80}"/>
          </ac:cxnSpMkLst>
        </pc:cxnChg>
        <pc:cxnChg chg="mod">
          <ac:chgData name="Henry" userId="02f5dd7c-8d1c-42af-a438-3c1752a452dc" providerId="ADAL" clId="{5942D110-875B-42FB-AC8A-CA70EB9445B0}" dt="2020-11-15T16:38:43.420" v="2102" actId="478"/>
          <ac:cxnSpMkLst>
            <pc:docMk/>
            <pc:sldMk cId="1453539241" sldId="351"/>
            <ac:cxnSpMk id="235" creationId="{E7AA08B7-DA54-40A3-B6C0-C0490521A09E}"/>
          </ac:cxnSpMkLst>
        </pc:cxnChg>
        <pc:cxnChg chg="del">
          <ac:chgData name="Henry" userId="02f5dd7c-8d1c-42af-a438-3c1752a452dc" providerId="ADAL" clId="{5942D110-875B-42FB-AC8A-CA70EB9445B0}" dt="2020-11-15T16:38:43.420" v="2102" actId="478"/>
          <ac:cxnSpMkLst>
            <pc:docMk/>
            <pc:sldMk cId="1453539241" sldId="351"/>
            <ac:cxnSpMk id="238" creationId="{5216DBD1-4426-44E6-B136-06FC128DBF7E}"/>
          </ac:cxnSpMkLst>
        </pc:cxnChg>
        <pc:cxnChg chg="del">
          <ac:chgData name="Henry" userId="02f5dd7c-8d1c-42af-a438-3c1752a452dc" providerId="ADAL" clId="{5942D110-875B-42FB-AC8A-CA70EB9445B0}" dt="2020-11-15T16:38:43.420" v="2102" actId="478"/>
          <ac:cxnSpMkLst>
            <pc:docMk/>
            <pc:sldMk cId="1453539241" sldId="351"/>
            <ac:cxnSpMk id="243" creationId="{8A1B8904-3C3B-4D30-A908-99EED344C531}"/>
          </ac:cxnSpMkLst>
        </pc:cxnChg>
        <pc:cxnChg chg="mod">
          <ac:chgData name="Henry" userId="02f5dd7c-8d1c-42af-a438-3c1752a452dc" providerId="ADAL" clId="{5942D110-875B-42FB-AC8A-CA70EB9445B0}" dt="2020-11-15T16:38:43.420" v="2102" actId="478"/>
          <ac:cxnSpMkLst>
            <pc:docMk/>
            <pc:sldMk cId="1453539241" sldId="351"/>
            <ac:cxnSpMk id="250" creationId="{FF05058B-CCE4-4D9F-B7A4-5BE90357A8B8}"/>
          </ac:cxnSpMkLst>
        </pc:cxnChg>
        <pc:cxnChg chg="mod">
          <ac:chgData name="Henry" userId="02f5dd7c-8d1c-42af-a438-3c1752a452dc" providerId="ADAL" clId="{5942D110-875B-42FB-AC8A-CA70EB9445B0}" dt="2020-11-15T16:38:43.420" v="2102" actId="478"/>
          <ac:cxnSpMkLst>
            <pc:docMk/>
            <pc:sldMk cId="1453539241" sldId="351"/>
            <ac:cxnSpMk id="251" creationId="{CE0555FC-7D28-4819-893C-F730AED3521E}"/>
          </ac:cxnSpMkLst>
        </pc:cxnChg>
        <pc:cxnChg chg="mod">
          <ac:chgData name="Henry" userId="02f5dd7c-8d1c-42af-a438-3c1752a452dc" providerId="ADAL" clId="{5942D110-875B-42FB-AC8A-CA70EB9445B0}" dt="2020-11-15T16:38:48.361" v="2105" actId="478"/>
          <ac:cxnSpMkLst>
            <pc:docMk/>
            <pc:sldMk cId="1453539241" sldId="351"/>
            <ac:cxnSpMk id="259" creationId="{FE572CF0-C780-4552-9055-5768F79A2FDC}"/>
          </ac:cxnSpMkLst>
        </pc:cxnChg>
        <pc:cxnChg chg="mod">
          <ac:chgData name="Henry" userId="02f5dd7c-8d1c-42af-a438-3c1752a452dc" providerId="ADAL" clId="{5942D110-875B-42FB-AC8A-CA70EB9445B0}" dt="2020-11-15T16:38:48.361" v="2105" actId="478"/>
          <ac:cxnSpMkLst>
            <pc:docMk/>
            <pc:sldMk cId="1453539241" sldId="351"/>
            <ac:cxnSpMk id="260" creationId="{A158F207-A559-478E-936B-873D5F2BC666}"/>
          </ac:cxnSpMkLst>
        </pc:cxnChg>
        <pc:cxnChg chg="mod">
          <ac:chgData name="Henry" userId="02f5dd7c-8d1c-42af-a438-3c1752a452dc" providerId="ADAL" clId="{5942D110-875B-42FB-AC8A-CA70EB9445B0}" dt="2020-11-15T16:38:45.695" v="2103" actId="478"/>
          <ac:cxnSpMkLst>
            <pc:docMk/>
            <pc:sldMk cId="1453539241" sldId="351"/>
            <ac:cxnSpMk id="267" creationId="{B48B2ADD-22D1-42BB-BC98-797C651496ED}"/>
          </ac:cxnSpMkLst>
        </pc:cxnChg>
        <pc:cxnChg chg="mod">
          <ac:chgData name="Henry" userId="02f5dd7c-8d1c-42af-a438-3c1752a452dc" providerId="ADAL" clId="{5942D110-875B-42FB-AC8A-CA70EB9445B0}" dt="2020-11-15T16:38:45.695" v="2103" actId="478"/>
          <ac:cxnSpMkLst>
            <pc:docMk/>
            <pc:sldMk cId="1453539241" sldId="351"/>
            <ac:cxnSpMk id="268" creationId="{CC344838-E485-4F7B-B123-4FF2C4338EAF}"/>
          </ac:cxnSpMkLst>
        </pc:cxnChg>
        <pc:cxnChg chg="mod">
          <ac:chgData name="Henry" userId="02f5dd7c-8d1c-42af-a438-3c1752a452dc" providerId="ADAL" clId="{5942D110-875B-42FB-AC8A-CA70EB9445B0}" dt="2020-11-15T16:38:49.219" v="2106" actId="478"/>
          <ac:cxnSpMkLst>
            <pc:docMk/>
            <pc:sldMk cId="1453539241" sldId="351"/>
            <ac:cxnSpMk id="273" creationId="{34438B8F-7D27-4BCE-A4D0-21367AD523D6}"/>
          </ac:cxnSpMkLst>
        </pc:cxnChg>
        <pc:cxnChg chg="mod">
          <ac:chgData name="Henry" userId="02f5dd7c-8d1c-42af-a438-3c1752a452dc" providerId="ADAL" clId="{5942D110-875B-42FB-AC8A-CA70EB9445B0}" dt="2020-11-15T16:38:49.219" v="2106" actId="478"/>
          <ac:cxnSpMkLst>
            <pc:docMk/>
            <pc:sldMk cId="1453539241" sldId="351"/>
            <ac:cxnSpMk id="274" creationId="{4B48A2E6-C6A6-4166-A1F1-A6A36C6FB034}"/>
          </ac:cxnSpMkLst>
        </pc:cxnChg>
        <pc:cxnChg chg="del">
          <ac:chgData name="Henry" userId="02f5dd7c-8d1c-42af-a438-3c1752a452dc" providerId="ADAL" clId="{5942D110-875B-42FB-AC8A-CA70EB9445B0}" dt="2020-11-15T16:38:45.695" v="2103" actId="478"/>
          <ac:cxnSpMkLst>
            <pc:docMk/>
            <pc:sldMk cId="1453539241" sldId="351"/>
            <ac:cxnSpMk id="276" creationId="{6CDB7A12-32F1-4E91-B1E9-56D46FC80850}"/>
          </ac:cxnSpMkLst>
        </pc:cxnChg>
        <pc:cxnChg chg="del">
          <ac:chgData name="Henry" userId="02f5dd7c-8d1c-42af-a438-3c1752a452dc" providerId="ADAL" clId="{5942D110-875B-42FB-AC8A-CA70EB9445B0}" dt="2020-11-15T16:38:41.057" v="2101" actId="478"/>
          <ac:cxnSpMkLst>
            <pc:docMk/>
            <pc:sldMk cId="1453539241" sldId="351"/>
            <ac:cxnSpMk id="284" creationId="{D7F521A2-1D9F-44CD-A2AA-B564ACE1668E}"/>
          </ac:cxnSpMkLst>
        </pc:cxnChg>
      </pc:sldChg>
      <pc:sldChg chg="addSp delSp modSp add mod modNotesTx">
        <pc:chgData name="Henry" userId="02f5dd7c-8d1c-42af-a438-3c1752a452dc" providerId="ADAL" clId="{5942D110-875B-42FB-AC8A-CA70EB9445B0}" dt="2020-11-20T14:06:06.737" v="20296" actId="20577"/>
        <pc:sldMkLst>
          <pc:docMk/>
          <pc:sldMk cId="3513483903" sldId="352"/>
        </pc:sldMkLst>
        <pc:spChg chg="mod">
          <ac:chgData name="Henry" userId="02f5dd7c-8d1c-42af-a438-3c1752a452dc" providerId="ADAL" clId="{5942D110-875B-42FB-AC8A-CA70EB9445B0}" dt="2020-11-15T16:53:37.868" v="2503" actId="20577"/>
          <ac:spMkLst>
            <pc:docMk/>
            <pc:sldMk cId="3513483903" sldId="352"/>
            <ac:spMk id="2" creationId="{3F62044A-0FD2-48A0-A969-AF8653966472}"/>
          </ac:spMkLst>
        </pc:spChg>
        <pc:spChg chg="add mod">
          <ac:chgData name="Henry" userId="02f5dd7c-8d1c-42af-a438-3c1752a452dc" providerId="ADAL" clId="{5942D110-875B-42FB-AC8A-CA70EB9445B0}" dt="2020-11-18T17:03:40.979" v="4607" actId="20577"/>
          <ac:spMkLst>
            <pc:docMk/>
            <pc:sldMk cId="3513483903" sldId="352"/>
            <ac:spMk id="4" creationId="{AE29407D-669B-48C2-BCE9-8F873489AED0}"/>
          </ac:spMkLst>
        </pc:spChg>
        <pc:spChg chg="del">
          <ac:chgData name="Henry" userId="02f5dd7c-8d1c-42af-a438-3c1752a452dc" providerId="ADAL" clId="{5942D110-875B-42FB-AC8A-CA70EB9445B0}" dt="2020-11-15T16:53:43.762" v="2505" actId="478"/>
          <ac:spMkLst>
            <pc:docMk/>
            <pc:sldMk cId="3513483903" sldId="352"/>
            <ac:spMk id="5" creationId="{F5E7AF60-05A5-E846-8FE2-463486EF3220}"/>
          </ac:spMkLst>
        </pc:spChg>
        <pc:spChg chg="mod">
          <ac:chgData name="Henry" userId="02f5dd7c-8d1c-42af-a438-3c1752a452dc" providerId="ADAL" clId="{5942D110-875B-42FB-AC8A-CA70EB9445B0}" dt="2020-11-18T17:39:58.294" v="4864" actId="20577"/>
          <ac:spMkLst>
            <pc:docMk/>
            <pc:sldMk cId="3513483903" sldId="352"/>
            <ac:spMk id="91" creationId="{248BB64A-2681-154D-A068-C8F7AB789180}"/>
          </ac:spMkLst>
        </pc:spChg>
        <pc:graphicFrameChg chg="add mod modGraphic">
          <ac:chgData name="Henry" userId="02f5dd7c-8d1c-42af-a438-3c1752a452dc" providerId="ADAL" clId="{5942D110-875B-42FB-AC8A-CA70EB9445B0}" dt="2020-11-19T16:36:19.861" v="14113" actId="20577"/>
          <ac:graphicFrameMkLst>
            <pc:docMk/>
            <pc:sldMk cId="3513483903" sldId="352"/>
            <ac:graphicFrameMk id="3" creationId="{0069CFAF-3BC9-498F-8343-54788BE01500}"/>
          </ac:graphicFrameMkLst>
        </pc:graphicFrameChg>
        <pc:picChg chg="del">
          <ac:chgData name="Henry" userId="02f5dd7c-8d1c-42af-a438-3c1752a452dc" providerId="ADAL" clId="{5942D110-875B-42FB-AC8A-CA70EB9445B0}" dt="2020-11-15T16:53:41.192" v="2504" actId="478"/>
          <ac:picMkLst>
            <pc:docMk/>
            <pc:sldMk cId="3513483903" sldId="352"/>
            <ac:picMk id="16" creationId="{8E2EC459-AABA-4249-8152-514D5201A2FE}"/>
          </ac:picMkLst>
        </pc:picChg>
      </pc:sldChg>
      <pc:sldChg chg="addSp delSp modSp add mod ord modNotesTx">
        <pc:chgData name="Henry" userId="02f5dd7c-8d1c-42af-a438-3c1752a452dc" providerId="ADAL" clId="{5942D110-875B-42FB-AC8A-CA70EB9445B0}" dt="2020-11-20T12:11:05.196" v="16116" actId="20577"/>
        <pc:sldMkLst>
          <pc:docMk/>
          <pc:sldMk cId="1264618274" sldId="353"/>
        </pc:sldMkLst>
        <pc:spChg chg="mod">
          <ac:chgData name="Henry" userId="02f5dd7c-8d1c-42af-a438-3c1752a452dc" providerId="ADAL" clId="{5942D110-875B-42FB-AC8A-CA70EB9445B0}" dt="2020-11-16T10:26:55.474" v="2837" actId="20577"/>
          <ac:spMkLst>
            <pc:docMk/>
            <pc:sldMk cId="1264618274" sldId="353"/>
            <ac:spMk id="2" creationId="{3F62044A-0FD2-48A0-A969-AF8653966472}"/>
          </ac:spMkLst>
        </pc:spChg>
        <pc:spChg chg="mod">
          <ac:chgData name="Henry" userId="02f5dd7c-8d1c-42af-a438-3c1752a452dc" providerId="ADAL" clId="{5942D110-875B-42FB-AC8A-CA70EB9445B0}" dt="2020-11-18T17:40:01.865" v="4866" actId="20577"/>
          <ac:spMkLst>
            <pc:docMk/>
            <pc:sldMk cId="1264618274" sldId="353"/>
            <ac:spMk id="91" creationId="{248BB64A-2681-154D-A068-C8F7AB789180}"/>
          </ac:spMkLst>
        </pc:spChg>
        <pc:graphicFrameChg chg="del">
          <ac:chgData name="Henry" userId="02f5dd7c-8d1c-42af-a438-3c1752a452dc" providerId="ADAL" clId="{5942D110-875B-42FB-AC8A-CA70EB9445B0}" dt="2020-11-16T10:27:00.368" v="2838" actId="478"/>
          <ac:graphicFrameMkLst>
            <pc:docMk/>
            <pc:sldMk cId="1264618274" sldId="353"/>
            <ac:graphicFrameMk id="3" creationId="{0069CFAF-3BC9-498F-8343-54788BE01500}"/>
          </ac:graphicFrameMkLst>
        </pc:graphicFrameChg>
        <pc:graphicFrameChg chg="add mod modGraphic">
          <ac:chgData name="Henry" userId="02f5dd7c-8d1c-42af-a438-3c1752a452dc" providerId="ADAL" clId="{5942D110-875B-42FB-AC8A-CA70EB9445B0}" dt="2020-11-18T17:00:46.789" v="4484" actId="404"/>
          <ac:graphicFrameMkLst>
            <pc:docMk/>
            <pc:sldMk cId="1264618274" sldId="353"/>
            <ac:graphicFrameMk id="4" creationId="{EE96A1DA-2E76-4661-9E06-32935163F9EF}"/>
          </ac:graphicFrameMkLst>
        </pc:graphicFrameChg>
      </pc:sldChg>
      <pc:sldChg chg="addSp delSp modSp add del mod modNotesTx">
        <pc:chgData name="Henry" userId="02f5dd7c-8d1c-42af-a438-3c1752a452dc" providerId="ADAL" clId="{5942D110-875B-42FB-AC8A-CA70EB9445B0}" dt="2020-11-20T12:19:06.102" v="16351" actId="20577"/>
        <pc:sldMkLst>
          <pc:docMk/>
          <pc:sldMk cId="2833447792" sldId="354"/>
        </pc:sldMkLst>
        <pc:spChg chg="del">
          <ac:chgData name="Henry" userId="02f5dd7c-8d1c-42af-a438-3c1752a452dc" providerId="ADAL" clId="{5942D110-875B-42FB-AC8A-CA70EB9445B0}" dt="2020-11-16T12:06:02.266" v="3256" actId="478"/>
          <ac:spMkLst>
            <pc:docMk/>
            <pc:sldMk cId="2833447792" sldId="354"/>
            <ac:spMk id="2" creationId="{3F62044A-0FD2-48A0-A969-AF8653966472}"/>
          </ac:spMkLst>
        </pc:spChg>
        <pc:spChg chg="add del mod">
          <ac:chgData name="Henry" userId="02f5dd7c-8d1c-42af-a438-3c1752a452dc" providerId="ADAL" clId="{5942D110-875B-42FB-AC8A-CA70EB9445B0}" dt="2020-11-18T17:41:21.870" v="4892" actId="478"/>
          <ac:spMkLst>
            <pc:docMk/>
            <pc:sldMk cId="2833447792" sldId="354"/>
            <ac:spMk id="3" creationId="{0D656796-3CA2-43BC-8609-82AE94B3BA24}"/>
          </ac:spMkLst>
        </pc:spChg>
        <pc:spChg chg="add del mod">
          <ac:chgData name="Henry" userId="02f5dd7c-8d1c-42af-a438-3c1752a452dc" providerId="ADAL" clId="{5942D110-875B-42FB-AC8A-CA70EB9445B0}" dt="2020-11-18T17:41:18.801" v="4891" actId="478"/>
          <ac:spMkLst>
            <pc:docMk/>
            <pc:sldMk cId="2833447792" sldId="354"/>
            <ac:spMk id="6" creationId="{5507156B-414C-4893-BD39-AF32134EDF4D}"/>
          </ac:spMkLst>
        </pc:spChg>
        <pc:spChg chg="add del mod">
          <ac:chgData name="Henry" userId="02f5dd7c-8d1c-42af-a438-3c1752a452dc" providerId="ADAL" clId="{5942D110-875B-42FB-AC8A-CA70EB9445B0}" dt="2020-11-16T12:06:04.730" v="3257" actId="478"/>
          <ac:spMkLst>
            <pc:docMk/>
            <pc:sldMk cId="2833447792" sldId="354"/>
            <ac:spMk id="9" creationId="{9ADD0835-CB3E-4AB7-B606-B3E7DFD9BA44}"/>
          </ac:spMkLst>
        </pc:spChg>
        <pc:spChg chg="mod">
          <ac:chgData name="Henry" userId="02f5dd7c-8d1c-42af-a438-3c1752a452dc" providerId="ADAL" clId="{5942D110-875B-42FB-AC8A-CA70EB9445B0}" dt="2020-11-18T17:39:50.292" v="4860" actId="20577"/>
          <ac:spMkLst>
            <pc:docMk/>
            <pc:sldMk cId="2833447792" sldId="354"/>
            <ac:spMk id="91" creationId="{248BB64A-2681-154D-A068-C8F7AB789180}"/>
          </ac:spMkLst>
        </pc:spChg>
        <pc:grpChg chg="ord">
          <ac:chgData name="Henry" userId="02f5dd7c-8d1c-42af-a438-3c1752a452dc" providerId="ADAL" clId="{5942D110-875B-42FB-AC8A-CA70EB9445B0}" dt="2020-11-20T10:15:03.587" v="15729" actId="166"/>
          <ac:grpSpMkLst>
            <pc:docMk/>
            <pc:sldMk cId="2833447792" sldId="354"/>
            <ac:grpSpMk id="89" creationId="{36A558D7-BBF3-3842-A595-122FBA174F4D}"/>
          </ac:grpSpMkLst>
        </pc:grpChg>
        <pc:graphicFrameChg chg="del">
          <ac:chgData name="Henry" userId="02f5dd7c-8d1c-42af-a438-3c1752a452dc" providerId="ADAL" clId="{5942D110-875B-42FB-AC8A-CA70EB9445B0}" dt="2020-11-16T11:48:46.539" v="3243" actId="478"/>
          <ac:graphicFrameMkLst>
            <pc:docMk/>
            <pc:sldMk cId="2833447792" sldId="354"/>
            <ac:graphicFrameMk id="4" creationId="{EE96A1DA-2E76-4661-9E06-32935163F9EF}"/>
          </ac:graphicFrameMkLst>
        </pc:graphicFrameChg>
        <pc:picChg chg="add mod">
          <ac:chgData name="Henry" userId="02f5dd7c-8d1c-42af-a438-3c1752a452dc" providerId="ADAL" clId="{5942D110-875B-42FB-AC8A-CA70EB9445B0}" dt="2020-11-20T10:15:10.797" v="15731" actId="1076"/>
          <ac:picMkLst>
            <pc:docMk/>
            <pc:sldMk cId="2833447792" sldId="354"/>
            <ac:picMk id="2" creationId="{ABA1FCCE-FF4F-42A1-BF7C-D0CF21D94346}"/>
          </ac:picMkLst>
        </pc:picChg>
        <pc:picChg chg="add del mod">
          <ac:chgData name="Henry" userId="02f5dd7c-8d1c-42af-a438-3c1752a452dc" providerId="ADAL" clId="{5942D110-875B-42FB-AC8A-CA70EB9445B0}" dt="2020-11-16T12:05:11.813" v="3246" actId="478"/>
          <ac:picMkLst>
            <pc:docMk/>
            <pc:sldMk cId="2833447792" sldId="354"/>
            <ac:picMk id="3" creationId="{B2938940-2039-45A7-BEB4-B99C1FB76962}"/>
          </ac:picMkLst>
        </pc:picChg>
        <pc:picChg chg="add ord">
          <ac:chgData name="Henry" userId="02f5dd7c-8d1c-42af-a438-3c1752a452dc" providerId="ADAL" clId="{5942D110-875B-42FB-AC8A-CA70EB9445B0}" dt="2020-11-20T10:09:52.638" v="15726" actId="166"/>
          <ac:picMkLst>
            <pc:docMk/>
            <pc:sldMk cId="2833447792" sldId="354"/>
            <ac:picMk id="4" creationId="{11B48ECD-A2EE-471A-8867-A3ECCF7B5F0E}"/>
          </ac:picMkLst>
        </pc:picChg>
        <pc:picChg chg="add del mod">
          <ac:chgData name="Henry" userId="02f5dd7c-8d1c-42af-a438-3c1752a452dc" providerId="ADAL" clId="{5942D110-875B-42FB-AC8A-CA70EB9445B0}" dt="2020-11-16T12:05:29.916" v="3249" actId="478"/>
          <ac:picMkLst>
            <pc:docMk/>
            <pc:sldMk cId="2833447792" sldId="354"/>
            <ac:picMk id="5" creationId="{9233CC8B-BC7F-4A58-837C-2DE506F4519F}"/>
          </ac:picMkLst>
        </pc:picChg>
        <pc:picChg chg="add del mod">
          <ac:chgData name="Henry" userId="02f5dd7c-8d1c-42af-a438-3c1752a452dc" providerId="ADAL" clId="{5942D110-875B-42FB-AC8A-CA70EB9445B0}" dt="2020-11-16T12:05:43.992" v="3253" actId="478"/>
          <ac:picMkLst>
            <pc:docMk/>
            <pc:sldMk cId="2833447792" sldId="354"/>
            <ac:picMk id="6" creationId="{E16BF411-87A4-402C-86BD-9847F6ED0EC9}"/>
          </ac:picMkLst>
        </pc:picChg>
        <pc:picChg chg="add del mod modCrop">
          <ac:chgData name="Henry" userId="02f5dd7c-8d1c-42af-a438-3c1752a452dc" providerId="ADAL" clId="{5942D110-875B-42FB-AC8A-CA70EB9445B0}" dt="2020-11-16T12:21:20.369" v="3287" actId="478"/>
          <ac:picMkLst>
            <pc:docMk/>
            <pc:sldMk cId="2833447792" sldId="354"/>
            <ac:picMk id="7" creationId="{6C38DCA7-E5ED-4EB6-85D5-10FDD9F86AAE}"/>
          </ac:picMkLst>
        </pc:picChg>
        <pc:picChg chg="add mod ord">
          <ac:chgData name="Henry" userId="02f5dd7c-8d1c-42af-a438-3c1752a452dc" providerId="ADAL" clId="{5942D110-875B-42FB-AC8A-CA70EB9445B0}" dt="2020-11-20T09:34:54.236" v="15123" actId="14100"/>
          <ac:picMkLst>
            <pc:docMk/>
            <pc:sldMk cId="2833447792" sldId="354"/>
            <ac:picMk id="10" creationId="{5753A435-E9DE-41FE-B5D9-FDE651919863}"/>
          </ac:picMkLst>
        </pc:picChg>
      </pc:sldChg>
      <pc:sldChg chg="addSp delSp modSp add mod modNotesTx">
        <pc:chgData name="Henry" userId="02f5dd7c-8d1c-42af-a438-3c1752a452dc" providerId="ADAL" clId="{5942D110-875B-42FB-AC8A-CA70EB9445B0}" dt="2020-11-20T12:38:37.518" v="17194" actId="20577"/>
        <pc:sldMkLst>
          <pc:docMk/>
          <pc:sldMk cId="2698266356" sldId="355"/>
        </pc:sldMkLst>
        <pc:spChg chg="add mod">
          <ac:chgData name="Henry" userId="02f5dd7c-8d1c-42af-a438-3c1752a452dc" providerId="ADAL" clId="{5942D110-875B-42FB-AC8A-CA70EB9445B0}" dt="2020-11-18T16:57:28.107" v="4444" actId="164"/>
          <ac:spMkLst>
            <pc:docMk/>
            <pc:sldMk cId="2698266356" sldId="355"/>
            <ac:spMk id="2" creationId="{AEE01E4E-F6DC-4E98-8011-A9BB1EB4FF0F}"/>
          </ac:spMkLst>
        </pc:spChg>
        <pc:spChg chg="add del mod">
          <ac:chgData name="Henry" userId="02f5dd7c-8d1c-42af-a438-3c1752a452dc" providerId="ADAL" clId="{5942D110-875B-42FB-AC8A-CA70EB9445B0}" dt="2020-11-20T11:56:22.340" v="15813" actId="1036"/>
          <ac:spMkLst>
            <pc:docMk/>
            <pc:sldMk cId="2698266356" sldId="355"/>
            <ac:spMk id="10" creationId="{CDE1E067-87B7-422B-BA81-41028EBFB97E}"/>
          </ac:spMkLst>
        </pc:spChg>
        <pc:spChg chg="mod">
          <ac:chgData name="Henry" userId="02f5dd7c-8d1c-42af-a438-3c1752a452dc" providerId="ADAL" clId="{5942D110-875B-42FB-AC8A-CA70EB9445B0}" dt="2020-11-18T17:54:22.299" v="5229" actId="20577"/>
          <ac:spMkLst>
            <pc:docMk/>
            <pc:sldMk cId="2698266356" sldId="355"/>
            <ac:spMk id="91" creationId="{248BB64A-2681-154D-A068-C8F7AB789180}"/>
          </ac:spMkLst>
        </pc:spChg>
        <pc:grpChg chg="add del mod">
          <ac:chgData name="Henry" userId="02f5dd7c-8d1c-42af-a438-3c1752a452dc" providerId="ADAL" clId="{5942D110-875B-42FB-AC8A-CA70EB9445B0}" dt="2020-11-20T10:15:50.763" v="15732" actId="478"/>
          <ac:grpSpMkLst>
            <pc:docMk/>
            <pc:sldMk cId="2698266356" sldId="355"/>
            <ac:grpSpMk id="4" creationId="{BE499B06-0A04-418D-B979-7469BA327A75}"/>
          </ac:grpSpMkLst>
        </pc:grpChg>
        <pc:picChg chg="add del mod modCrop">
          <ac:chgData name="Henry" userId="02f5dd7c-8d1c-42af-a438-3c1752a452dc" providerId="ADAL" clId="{5942D110-875B-42FB-AC8A-CA70EB9445B0}" dt="2020-11-16T12:21:15.037" v="3284" actId="478"/>
          <ac:picMkLst>
            <pc:docMk/>
            <pc:sldMk cId="2698266356" sldId="355"/>
            <ac:picMk id="2" creationId="{A3CC2830-4166-4644-BF74-6E5EC5DA88DB}"/>
          </ac:picMkLst>
        </pc:picChg>
        <pc:picChg chg="add mod">
          <ac:chgData name="Henry" userId="02f5dd7c-8d1c-42af-a438-3c1752a452dc" providerId="ADAL" clId="{5942D110-875B-42FB-AC8A-CA70EB9445B0}" dt="2020-11-18T16:57:28.107" v="4444" actId="164"/>
          <ac:picMkLst>
            <pc:docMk/>
            <pc:sldMk cId="2698266356" sldId="355"/>
            <ac:picMk id="3" creationId="{1F89F709-F87A-4F14-BB4B-597455E34C84}"/>
          </ac:picMkLst>
        </pc:picChg>
        <pc:picChg chg="add ord">
          <ac:chgData name="Henry" userId="02f5dd7c-8d1c-42af-a438-3c1752a452dc" providerId="ADAL" clId="{5942D110-875B-42FB-AC8A-CA70EB9445B0}" dt="2020-11-20T11:56:20.029" v="15800" actId="166"/>
          <ac:picMkLst>
            <pc:docMk/>
            <pc:sldMk cId="2698266356" sldId="355"/>
            <ac:picMk id="5" creationId="{D7089D8B-2991-4566-977D-F227C7DB8197}"/>
          </ac:picMkLst>
        </pc:picChg>
        <pc:picChg chg="add del mod ord">
          <ac:chgData name="Henry" userId="02f5dd7c-8d1c-42af-a438-3c1752a452dc" providerId="ADAL" clId="{5942D110-875B-42FB-AC8A-CA70EB9445B0}" dt="2020-11-20T11:56:20.709" v="15804" actId="14100"/>
          <ac:picMkLst>
            <pc:docMk/>
            <pc:sldMk cId="2698266356" sldId="355"/>
            <ac:picMk id="6" creationId="{9F543340-BC9A-48CB-9605-7A019D889357}"/>
          </ac:picMkLst>
        </pc:picChg>
        <pc:picChg chg="del">
          <ac:chgData name="Henry" userId="02f5dd7c-8d1c-42af-a438-3c1752a452dc" providerId="ADAL" clId="{5942D110-875B-42FB-AC8A-CA70EB9445B0}" dt="2020-11-16T12:07:21.181" v="3262" actId="478"/>
          <ac:picMkLst>
            <pc:docMk/>
            <pc:sldMk cId="2698266356" sldId="355"/>
            <ac:picMk id="7" creationId="{6C38DCA7-E5ED-4EB6-85D5-10FDD9F86AAE}"/>
          </ac:picMkLst>
        </pc:picChg>
      </pc:sldChg>
      <pc:sldChg chg="addSp delSp modSp add mod modNotesTx">
        <pc:chgData name="Henry" userId="02f5dd7c-8d1c-42af-a438-3c1752a452dc" providerId="ADAL" clId="{5942D110-875B-42FB-AC8A-CA70EB9445B0}" dt="2020-11-20T13:02:13.409" v="18218" actId="20577"/>
        <pc:sldMkLst>
          <pc:docMk/>
          <pc:sldMk cId="1771477196" sldId="356"/>
        </pc:sldMkLst>
        <pc:spChg chg="add mod">
          <ac:chgData name="Henry" userId="02f5dd7c-8d1c-42af-a438-3c1752a452dc" providerId="ADAL" clId="{5942D110-875B-42FB-AC8A-CA70EB9445B0}" dt="2020-11-18T16:57:37.631" v="4447" actId="164"/>
          <ac:spMkLst>
            <pc:docMk/>
            <pc:sldMk cId="1771477196" sldId="356"/>
            <ac:spMk id="3" creationId="{D16FFC3E-9A10-47B6-9C8D-BDF05512CA07}"/>
          </ac:spMkLst>
        </pc:spChg>
        <pc:spChg chg="add mod">
          <ac:chgData name="Henry" userId="02f5dd7c-8d1c-42af-a438-3c1752a452dc" providerId="ADAL" clId="{5942D110-875B-42FB-AC8A-CA70EB9445B0}" dt="2020-11-20T13:01:49.190" v="18187" actId="14100"/>
          <ac:spMkLst>
            <pc:docMk/>
            <pc:sldMk cId="1771477196" sldId="356"/>
            <ac:spMk id="5" creationId="{D0F19A5A-8FDC-4CB4-B0FF-9D9FF2186347}"/>
          </ac:spMkLst>
        </pc:spChg>
        <pc:spChg chg="add del mod">
          <ac:chgData name="Henry" userId="02f5dd7c-8d1c-42af-a438-3c1752a452dc" providerId="ADAL" clId="{5942D110-875B-42FB-AC8A-CA70EB9445B0}" dt="2020-11-20T12:59:36.903" v="17849" actId="403"/>
          <ac:spMkLst>
            <pc:docMk/>
            <pc:sldMk cId="1771477196" sldId="356"/>
            <ac:spMk id="12" creationId="{5CD0F71F-C725-4C54-8396-8F57E42220BC}"/>
          </ac:spMkLst>
        </pc:spChg>
        <pc:spChg chg="mod">
          <ac:chgData name="Henry" userId="02f5dd7c-8d1c-42af-a438-3c1752a452dc" providerId="ADAL" clId="{5942D110-875B-42FB-AC8A-CA70EB9445B0}" dt="2020-11-18T17:54:25.684" v="5231" actId="20577"/>
          <ac:spMkLst>
            <pc:docMk/>
            <pc:sldMk cId="1771477196" sldId="356"/>
            <ac:spMk id="91" creationId="{248BB64A-2681-154D-A068-C8F7AB789180}"/>
          </ac:spMkLst>
        </pc:spChg>
        <pc:grpChg chg="add del mod">
          <ac:chgData name="Henry" userId="02f5dd7c-8d1c-42af-a438-3c1752a452dc" providerId="ADAL" clId="{5942D110-875B-42FB-AC8A-CA70EB9445B0}" dt="2020-11-20T11:56:21.245" v="15807" actId="478"/>
          <ac:grpSpMkLst>
            <pc:docMk/>
            <pc:sldMk cId="1771477196" sldId="356"/>
            <ac:grpSpMk id="4" creationId="{7E68E8C4-E188-4B6E-B069-4AB715FA4FCB}"/>
          </ac:grpSpMkLst>
        </pc:grpChg>
        <pc:picChg chg="add mod">
          <ac:chgData name="Henry" userId="02f5dd7c-8d1c-42af-a438-3c1752a452dc" providerId="ADAL" clId="{5942D110-875B-42FB-AC8A-CA70EB9445B0}" dt="2020-11-18T16:57:37.631" v="4447" actId="164"/>
          <ac:picMkLst>
            <pc:docMk/>
            <pc:sldMk cId="1771477196" sldId="356"/>
            <ac:picMk id="2" creationId="{CE7871FA-022B-4C2D-938A-6C46901E7F97}"/>
          </ac:picMkLst>
        </pc:picChg>
        <pc:picChg chg="add del mod">
          <ac:chgData name="Henry" userId="02f5dd7c-8d1c-42af-a438-3c1752a452dc" providerId="ADAL" clId="{5942D110-875B-42FB-AC8A-CA70EB9445B0}" dt="2020-11-20T11:55:18.604" v="15763"/>
          <ac:picMkLst>
            <pc:docMk/>
            <pc:sldMk cId="1771477196" sldId="356"/>
            <ac:picMk id="6" creationId="{D01BA3BB-B0CC-4746-852D-7548B0A8AA41}"/>
          </ac:picMkLst>
        </pc:picChg>
        <pc:picChg chg="del">
          <ac:chgData name="Henry" userId="02f5dd7c-8d1c-42af-a438-3c1752a452dc" providerId="ADAL" clId="{5942D110-875B-42FB-AC8A-CA70EB9445B0}" dt="2020-11-16T12:20:58.087" v="3279" actId="478"/>
          <ac:picMkLst>
            <pc:docMk/>
            <pc:sldMk cId="1771477196" sldId="356"/>
            <ac:picMk id="7" creationId="{6C38DCA7-E5ED-4EB6-85D5-10FDD9F86AAE}"/>
          </ac:picMkLst>
        </pc:picChg>
        <pc:picChg chg="add">
          <ac:chgData name="Henry" userId="02f5dd7c-8d1c-42af-a438-3c1752a452dc" providerId="ADAL" clId="{5942D110-875B-42FB-AC8A-CA70EB9445B0}" dt="2020-11-18T17:42:32.168" v="4899" actId="22"/>
          <ac:picMkLst>
            <pc:docMk/>
            <pc:sldMk cId="1771477196" sldId="356"/>
            <ac:picMk id="7" creationId="{AFBD7910-B4DA-4E35-8AE7-A2A3D847A31B}"/>
          </ac:picMkLst>
        </pc:picChg>
        <pc:picChg chg="add del mod">
          <ac:chgData name="Henry" userId="02f5dd7c-8d1c-42af-a438-3c1752a452dc" providerId="ADAL" clId="{5942D110-875B-42FB-AC8A-CA70EB9445B0}" dt="2020-11-20T11:56:21.436" v="15808" actId="1076"/>
          <ac:picMkLst>
            <pc:docMk/>
            <pc:sldMk cId="1771477196" sldId="356"/>
            <ac:picMk id="11" creationId="{8D175D3E-7629-4D45-AE85-7C26A56CF327}"/>
          </ac:picMkLst>
        </pc:picChg>
      </pc:sldChg>
      <pc:sldChg chg="modSp add mod ord modNotesTx">
        <pc:chgData name="Henry" userId="02f5dd7c-8d1c-42af-a438-3c1752a452dc" providerId="ADAL" clId="{5942D110-875B-42FB-AC8A-CA70EB9445B0}" dt="2020-11-20T13:45:32.091" v="20180" actId="20577"/>
        <pc:sldMkLst>
          <pc:docMk/>
          <pc:sldMk cId="55419711" sldId="357"/>
        </pc:sldMkLst>
        <pc:spChg chg="mod">
          <ac:chgData name="Henry" userId="02f5dd7c-8d1c-42af-a438-3c1752a452dc" providerId="ADAL" clId="{5942D110-875B-42FB-AC8A-CA70EB9445B0}" dt="2020-11-20T13:14:54.312" v="19479" actId="2710"/>
          <ac:spMkLst>
            <pc:docMk/>
            <pc:sldMk cId="55419711" sldId="357"/>
            <ac:spMk id="4" creationId="{68DA8C38-8324-104E-9E41-2F2F62997DD6}"/>
          </ac:spMkLst>
        </pc:spChg>
        <pc:spChg chg="mod">
          <ac:chgData name="Henry" userId="02f5dd7c-8d1c-42af-a438-3c1752a452dc" providerId="ADAL" clId="{5942D110-875B-42FB-AC8A-CA70EB9445B0}" dt="2020-11-20T13:14:58.441" v="19480" actId="14100"/>
          <ac:spMkLst>
            <pc:docMk/>
            <pc:sldMk cId="55419711" sldId="357"/>
            <ac:spMk id="7" creationId="{7B5A644E-9D3D-3A4F-BD32-7F205B30CBBA}"/>
          </ac:spMkLst>
        </pc:spChg>
        <pc:spChg chg="mod">
          <ac:chgData name="Henry" userId="02f5dd7c-8d1c-42af-a438-3c1752a452dc" providerId="ADAL" clId="{5942D110-875B-42FB-AC8A-CA70EB9445B0}" dt="2020-11-18T17:54:37.721" v="5235" actId="20577"/>
          <ac:spMkLst>
            <pc:docMk/>
            <pc:sldMk cId="55419711" sldId="357"/>
            <ac:spMk id="10" creationId="{CACAB44C-0A72-BA4B-8D13-BEC5784077C9}"/>
          </ac:spMkLst>
        </pc:spChg>
      </pc:sldChg>
      <pc:sldChg chg="add ord">
        <pc:chgData name="Henry" userId="02f5dd7c-8d1c-42af-a438-3c1752a452dc" providerId="ADAL" clId="{5942D110-875B-42FB-AC8A-CA70EB9445B0}" dt="2020-11-18T15:55:13.889" v="4326"/>
        <pc:sldMkLst>
          <pc:docMk/>
          <pc:sldMk cId="951530150" sldId="358"/>
        </pc:sldMkLst>
      </pc:sldChg>
      <pc:sldChg chg="addSp delSp modSp add mod modNotesTx">
        <pc:chgData name="Henry" userId="02f5dd7c-8d1c-42af-a438-3c1752a452dc" providerId="ADAL" clId="{5942D110-875B-42FB-AC8A-CA70EB9445B0}" dt="2020-11-19T15:28:33.109" v="10029" actId="20577"/>
        <pc:sldMkLst>
          <pc:docMk/>
          <pc:sldMk cId="4014633275" sldId="359"/>
        </pc:sldMkLst>
        <pc:spChg chg="mod">
          <ac:chgData name="Henry" userId="02f5dd7c-8d1c-42af-a438-3c1752a452dc" providerId="ADAL" clId="{5942D110-875B-42FB-AC8A-CA70EB9445B0}" dt="2020-11-19T15:26:47.659" v="9772" actId="1076"/>
          <ac:spMkLst>
            <pc:docMk/>
            <pc:sldMk cId="4014633275" sldId="359"/>
            <ac:spMk id="6" creationId="{124FE92C-43BA-4B65-8BFF-DA78680256FD}"/>
          </ac:spMkLst>
        </pc:spChg>
        <pc:spChg chg="mod">
          <ac:chgData name="Henry" userId="02f5dd7c-8d1c-42af-a438-3c1752a452dc" providerId="ADAL" clId="{5942D110-875B-42FB-AC8A-CA70EB9445B0}" dt="2020-11-18T15:56:11.538" v="4335" actId="2710"/>
          <ac:spMkLst>
            <pc:docMk/>
            <pc:sldMk cId="4014633275" sldId="359"/>
            <ac:spMk id="9" creationId="{05402393-FFAD-4674-B173-20ACF59F4BDF}"/>
          </ac:spMkLst>
        </pc:spChg>
        <pc:spChg chg="mod">
          <ac:chgData name="Henry" userId="02f5dd7c-8d1c-42af-a438-3c1752a452dc" providerId="ADAL" clId="{5942D110-875B-42FB-AC8A-CA70EB9445B0}" dt="2020-11-18T17:40:55.241" v="4888" actId="20577"/>
          <ac:spMkLst>
            <pc:docMk/>
            <pc:sldMk cId="4014633275" sldId="359"/>
            <ac:spMk id="15" creationId="{AC1E3A02-AF99-3E47-A940-46866CE179AA}"/>
          </ac:spMkLst>
        </pc:spChg>
        <pc:spChg chg="add mod">
          <ac:chgData name="Henry" userId="02f5dd7c-8d1c-42af-a438-3c1752a452dc" providerId="ADAL" clId="{5942D110-875B-42FB-AC8A-CA70EB9445B0}" dt="2020-11-18T15:50:59.161" v="4233" actId="1076"/>
          <ac:spMkLst>
            <pc:docMk/>
            <pc:sldMk cId="4014633275" sldId="359"/>
            <ac:spMk id="17" creationId="{483CE990-8C85-4C72-863D-59387B5F42EC}"/>
          </ac:spMkLst>
        </pc:spChg>
        <pc:spChg chg="add mod">
          <ac:chgData name="Henry" userId="02f5dd7c-8d1c-42af-a438-3c1752a452dc" providerId="ADAL" clId="{5942D110-875B-42FB-AC8A-CA70EB9445B0}" dt="2020-11-18T15:50:19.972" v="4218" actId="1076"/>
          <ac:spMkLst>
            <pc:docMk/>
            <pc:sldMk cId="4014633275" sldId="359"/>
            <ac:spMk id="21" creationId="{A647C07D-27EB-4197-8FFA-D45DF3692A6B}"/>
          </ac:spMkLst>
        </pc:spChg>
        <pc:spChg chg="mod">
          <ac:chgData name="Henry" userId="02f5dd7c-8d1c-42af-a438-3c1752a452dc" providerId="ADAL" clId="{5942D110-875B-42FB-AC8A-CA70EB9445B0}" dt="2020-11-18T15:49:37.462" v="4207" actId="1076"/>
          <ac:spMkLst>
            <pc:docMk/>
            <pc:sldMk cId="4014633275" sldId="359"/>
            <ac:spMk id="22" creationId="{0393666A-7B32-401C-8010-05E90CCEE3CF}"/>
          </ac:spMkLst>
        </pc:spChg>
        <pc:spChg chg="add mod">
          <ac:chgData name="Henry" userId="02f5dd7c-8d1c-42af-a438-3c1752a452dc" providerId="ADAL" clId="{5942D110-875B-42FB-AC8A-CA70EB9445B0}" dt="2020-11-18T15:51:22.961" v="4237" actId="207"/>
          <ac:spMkLst>
            <pc:docMk/>
            <pc:sldMk cId="4014633275" sldId="359"/>
            <ac:spMk id="23" creationId="{147DFD6E-400F-4991-A212-51B285F93F7A}"/>
          </ac:spMkLst>
        </pc:spChg>
        <pc:spChg chg="add mod">
          <ac:chgData name="Henry" userId="02f5dd7c-8d1c-42af-a438-3c1752a452dc" providerId="ADAL" clId="{5942D110-875B-42FB-AC8A-CA70EB9445B0}" dt="2020-11-18T15:51:22.961" v="4237" actId="207"/>
          <ac:spMkLst>
            <pc:docMk/>
            <pc:sldMk cId="4014633275" sldId="359"/>
            <ac:spMk id="25" creationId="{7EBB141D-056E-4EC8-BC93-CC33E79483B0}"/>
          </ac:spMkLst>
        </pc:spChg>
        <pc:spChg chg="mod">
          <ac:chgData name="Henry" userId="02f5dd7c-8d1c-42af-a438-3c1752a452dc" providerId="ADAL" clId="{5942D110-875B-42FB-AC8A-CA70EB9445B0}" dt="2020-11-18T15:49:32.702" v="4206" actId="1076"/>
          <ac:spMkLst>
            <pc:docMk/>
            <pc:sldMk cId="4014633275" sldId="359"/>
            <ac:spMk id="26" creationId="{1C728765-7C31-4E97-AE80-0A4D597426DB}"/>
          </ac:spMkLst>
        </pc:spChg>
        <pc:spChg chg="add mod">
          <ac:chgData name="Henry" userId="02f5dd7c-8d1c-42af-a438-3c1752a452dc" providerId="ADAL" clId="{5942D110-875B-42FB-AC8A-CA70EB9445B0}" dt="2020-11-18T15:50:37.101" v="4224" actId="1076"/>
          <ac:spMkLst>
            <pc:docMk/>
            <pc:sldMk cId="4014633275" sldId="359"/>
            <ac:spMk id="27" creationId="{25E4C345-6D85-442F-9CC8-AE22D8A692C4}"/>
          </ac:spMkLst>
        </pc:spChg>
        <pc:spChg chg="add mod">
          <ac:chgData name="Henry" userId="02f5dd7c-8d1c-42af-a438-3c1752a452dc" providerId="ADAL" clId="{5942D110-875B-42FB-AC8A-CA70EB9445B0}" dt="2020-11-18T15:51:22.961" v="4237" actId="207"/>
          <ac:spMkLst>
            <pc:docMk/>
            <pc:sldMk cId="4014633275" sldId="359"/>
            <ac:spMk id="29" creationId="{31DAFAF1-BEA3-4F66-930D-84829AE6E3D8}"/>
          </ac:spMkLst>
        </pc:spChg>
        <pc:spChg chg="mod">
          <ac:chgData name="Henry" userId="02f5dd7c-8d1c-42af-a438-3c1752a452dc" providerId="ADAL" clId="{5942D110-875B-42FB-AC8A-CA70EB9445B0}" dt="2020-11-18T15:49:39.542" v="4208" actId="1076"/>
          <ac:spMkLst>
            <pc:docMk/>
            <pc:sldMk cId="4014633275" sldId="359"/>
            <ac:spMk id="30" creationId="{E7E5D264-A240-4194-AC09-3FA1C24A3524}"/>
          </ac:spMkLst>
        </pc:spChg>
        <pc:spChg chg="add mod">
          <ac:chgData name="Henry" userId="02f5dd7c-8d1c-42af-a438-3c1752a452dc" providerId="ADAL" clId="{5942D110-875B-42FB-AC8A-CA70EB9445B0}" dt="2020-11-18T15:50:46.911" v="4228" actId="1076"/>
          <ac:spMkLst>
            <pc:docMk/>
            <pc:sldMk cId="4014633275" sldId="359"/>
            <ac:spMk id="31" creationId="{CAE76C87-0BF4-47E3-86C6-B15262D20003}"/>
          </ac:spMkLst>
        </pc:spChg>
        <pc:spChg chg="mod">
          <ac:chgData name="Henry" userId="02f5dd7c-8d1c-42af-a438-3c1752a452dc" providerId="ADAL" clId="{5942D110-875B-42FB-AC8A-CA70EB9445B0}" dt="2020-11-18T15:49:25.992" v="4203" actId="1076"/>
          <ac:spMkLst>
            <pc:docMk/>
            <pc:sldMk cId="4014633275" sldId="359"/>
            <ac:spMk id="32" creationId="{74AE6746-4F8A-4299-B21C-D61EA5AFA02C}"/>
          </ac:spMkLst>
        </pc:spChg>
        <pc:spChg chg="add mod">
          <ac:chgData name="Henry" userId="02f5dd7c-8d1c-42af-a438-3c1752a452dc" providerId="ADAL" clId="{5942D110-875B-42FB-AC8A-CA70EB9445B0}" dt="2020-11-18T15:50:51.101" v="4230" actId="1076"/>
          <ac:spMkLst>
            <pc:docMk/>
            <pc:sldMk cId="4014633275" sldId="359"/>
            <ac:spMk id="33" creationId="{FA91FBB4-D4F3-45C1-9C0F-F2626F85B6A7}"/>
          </ac:spMkLst>
        </pc:spChg>
        <pc:spChg chg="mod">
          <ac:chgData name="Henry" userId="02f5dd7c-8d1c-42af-a438-3c1752a452dc" providerId="ADAL" clId="{5942D110-875B-42FB-AC8A-CA70EB9445B0}" dt="2020-11-18T15:49:45.102" v="4209" actId="1076"/>
          <ac:spMkLst>
            <pc:docMk/>
            <pc:sldMk cId="4014633275" sldId="359"/>
            <ac:spMk id="34" creationId="{F9E2261D-92F6-4BE8-9DC5-79EB29A6B956}"/>
          </ac:spMkLst>
        </pc:spChg>
        <pc:spChg chg="add mod">
          <ac:chgData name="Henry" userId="02f5dd7c-8d1c-42af-a438-3c1752a452dc" providerId="ADAL" clId="{5942D110-875B-42FB-AC8A-CA70EB9445B0}" dt="2020-11-18T15:50:55.211" v="4232" actId="1076"/>
          <ac:spMkLst>
            <pc:docMk/>
            <pc:sldMk cId="4014633275" sldId="359"/>
            <ac:spMk id="45" creationId="{3158592B-FA68-4874-9433-E9669376E97C}"/>
          </ac:spMkLst>
        </pc:spChg>
        <pc:spChg chg="add mod">
          <ac:chgData name="Henry" userId="02f5dd7c-8d1c-42af-a438-3c1752a452dc" providerId="ADAL" clId="{5942D110-875B-42FB-AC8A-CA70EB9445B0}" dt="2020-11-18T15:51:22.961" v="4237" actId="207"/>
          <ac:spMkLst>
            <pc:docMk/>
            <pc:sldMk cId="4014633275" sldId="359"/>
            <ac:spMk id="53" creationId="{8111A200-4548-4CFF-979C-53B18F4C72A4}"/>
          </ac:spMkLst>
        </pc:spChg>
        <pc:spChg chg="add mod">
          <ac:chgData name="Henry" userId="02f5dd7c-8d1c-42af-a438-3c1752a452dc" providerId="ADAL" clId="{5942D110-875B-42FB-AC8A-CA70EB9445B0}" dt="2020-11-18T15:51:22.961" v="4237" actId="207"/>
          <ac:spMkLst>
            <pc:docMk/>
            <pc:sldMk cId="4014633275" sldId="359"/>
            <ac:spMk id="55" creationId="{7CC7781B-92CC-450A-9651-DD6944087400}"/>
          </ac:spMkLst>
        </pc:spChg>
        <pc:spChg chg="add mod">
          <ac:chgData name="Henry" userId="02f5dd7c-8d1c-42af-a438-3c1752a452dc" providerId="ADAL" clId="{5942D110-875B-42FB-AC8A-CA70EB9445B0}" dt="2020-11-18T15:51:22.961" v="4237" actId="207"/>
          <ac:spMkLst>
            <pc:docMk/>
            <pc:sldMk cId="4014633275" sldId="359"/>
            <ac:spMk id="57" creationId="{3CACE463-ACB8-4D2E-A911-BA1B71BF0715}"/>
          </ac:spMkLst>
        </pc:spChg>
        <pc:spChg chg="add mod">
          <ac:chgData name="Henry" userId="02f5dd7c-8d1c-42af-a438-3c1752a452dc" providerId="ADAL" clId="{5942D110-875B-42FB-AC8A-CA70EB9445B0}" dt="2020-11-18T15:54:22.934" v="4287" actId="208"/>
          <ac:spMkLst>
            <pc:docMk/>
            <pc:sldMk cId="4014633275" sldId="359"/>
            <ac:spMk id="58" creationId="{89159B27-98D7-410B-A3A5-1D79B8825ABA}"/>
          </ac:spMkLst>
        </pc:spChg>
        <pc:spChg chg="add mod">
          <ac:chgData name="Henry" userId="02f5dd7c-8d1c-42af-a438-3c1752a452dc" providerId="ADAL" clId="{5942D110-875B-42FB-AC8A-CA70EB9445B0}" dt="2020-11-18T15:54:36.464" v="4324" actId="1037"/>
          <ac:spMkLst>
            <pc:docMk/>
            <pc:sldMk cId="4014633275" sldId="359"/>
            <ac:spMk id="60" creationId="{D87B59C3-0842-4F4F-8A3C-987DFD7BBFE5}"/>
          </ac:spMkLst>
        </pc:spChg>
        <pc:picChg chg="del">
          <ac:chgData name="Henry" userId="02f5dd7c-8d1c-42af-a438-3c1752a452dc" providerId="ADAL" clId="{5942D110-875B-42FB-AC8A-CA70EB9445B0}" dt="2020-11-18T15:49:11.702" v="4198" actId="478"/>
          <ac:picMkLst>
            <pc:docMk/>
            <pc:sldMk cId="4014633275" sldId="359"/>
            <ac:picMk id="51" creationId="{36C54D3C-BDF3-47BF-AC2D-CA9B2496B6BA}"/>
          </ac:picMkLst>
        </pc:picChg>
        <pc:cxnChg chg="mod">
          <ac:chgData name="Henry" userId="02f5dd7c-8d1c-42af-a438-3c1752a452dc" providerId="ADAL" clId="{5942D110-875B-42FB-AC8A-CA70EB9445B0}" dt="2020-11-18T15:49:37.462" v="4207" actId="1076"/>
          <ac:cxnSpMkLst>
            <pc:docMk/>
            <pc:sldMk cId="4014633275" sldId="359"/>
            <ac:cxnSpMk id="38" creationId="{A0797CBC-DDBD-418C-941F-6D1C082BE00A}"/>
          </ac:cxnSpMkLst>
        </pc:cxnChg>
        <pc:cxnChg chg="mod">
          <ac:chgData name="Henry" userId="02f5dd7c-8d1c-42af-a438-3c1752a452dc" providerId="ADAL" clId="{5942D110-875B-42FB-AC8A-CA70EB9445B0}" dt="2020-11-18T15:49:32.702" v="4206" actId="1076"/>
          <ac:cxnSpMkLst>
            <pc:docMk/>
            <pc:sldMk cId="4014633275" sldId="359"/>
            <ac:cxnSpMk id="39" creationId="{19AB441D-EEA1-41C2-A1DF-2B8CC17C7F2D}"/>
          </ac:cxnSpMkLst>
        </pc:cxnChg>
        <pc:cxnChg chg="mod">
          <ac:chgData name="Henry" userId="02f5dd7c-8d1c-42af-a438-3c1752a452dc" providerId="ADAL" clId="{5942D110-875B-42FB-AC8A-CA70EB9445B0}" dt="2020-11-18T15:49:45.102" v="4209" actId="1076"/>
          <ac:cxnSpMkLst>
            <pc:docMk/>
            <pc:sldMk cId="4014633275" sldId="359"/>
            <ac:cxnSpMk id="42" creationId="{17646566-F1C6-4F60-92CE-DA2A06CFCD28}"/>
          </ac:cxnSpMkLst>
        </pc:cxnChg>
        <pc:cxnChg chg="add del mod">
          <ac:chgData name="Henry" userId="02f5dd7c-8d1c-42af-a438-3c1752a452dc" providerId="ADAL" clId="{5942D110-875B-42FB-AC8A-CA70EB9445B0}" dt="2020-11-18T15:54:25.920" v="4291"/>
          <ac:cxnSpMkLst>
            <pc:docMk/>
            <pc:sldMk cId="4014633275" sldId="359"/>
            <ac:cxnSpMk id="61" creationId="{F6DF53BF-3488-44ED-AEEC-F9DDF346DC29}"/>
          </ac:cxnSpMkLst>
        </pc:cxnChg>
        <pc:cxnChg chg="add del mod">
          <ac:chgData name="Henry" userId="02f5dd7c-8d1c-42af-a438-3c1752a452dc" providerId="ADAL" clId="{5942D110-875B-42FB-AC8A-CA70EB9445B0}" dt="2020-11-18T15:54:22.333" v="4285"/>
          <ac:cxnSpMkLst>
            <pc:docMk/>
            <pc:sldMk cId="4014633275" sldId="359"/>
            <ac:cxnSpMk id="65" creationId="{83C81D9C-D292-4CFB-83C4-C9A60E92CFDF}"/>
          </ac:cxnSpMkLst>
        </pc:cxnChg>
      </pc:sldChg>
      <pc:sldChg chg="modSp add del mod">
        <pc:chgData name="Henry" userId="02f5dd7c-8d1c-42af-a438-3c1752a452dc" providerId="ADAL" clId="{5942D110-875B-42FB-AC8A-CA70EB9445B0}" dt="2020-11-18T16:04:08.487" v="4363" actId="47"/>
        <pc:sldMkLst>
          <pc:docMk/>
          <pc:sldMk cId="1323842614" sldId="360"/>
        </pc:sldMkLst>
        <pc:spChg chg="mod">
          <ac:chgData name="Henry" userId="02f5dd7c-8d1c-42af-a438-3c1752a452dc" providerId="ADAL" clId="{5942D110-875B-42FB-AC8A-CA70EB9445B0}" dt="2020-11-18T16:03:41.513" v="4352" actId="20577"/>
          <ac:spMkLst>
            <pc:docMk/>
            <pc:sldMk cId="1323842614" sldId="360"/>
            <ac:spMk id="13" creationId="{CBD02C1E-CFD4-BB48-92AC-8D3265143495}"/>
          </ac:spMkLst>
        </pc:spChg>
      </pc:sldChg>
      <pc:sldChg chg="modSp add mod ord modNotesTx">
        <pc:chgData name="Henry" userId="02f5dd7c-8d1c-42af-a438-3c1752a452dc" providerId="ADAL" clId="{5942D110-875B-42FB-AC8A-CA70EB9445B0}" dt="2020-11-20T14:13:33.094" v="20300"/>
        <pc:sldMkLst>
          <pc:docMk/>
          <pc:sldMk cId="1127410311" sldId="361"/>
        </pc:sldMkLst>
        <pc:spChg chg="mod">
          <ac:chgData name="Henry" userId="02f5dd7c-8d1c-42af-a438-3c1752a452dc" providerId="ADAL" clId="{5942D110-875B-42FB-AC8A-CA70EB9445B0}" dt="2020-11-19T13:44:05.805" v="6258" actId="20577"/>
          <ac:spMkLst>
            <pc:docMk/>
            <pc:sldMk cId="1127410311" sldId="361"/>
            <ac:spMk id="13" creationId="{CBD02C1E-CFD4-BB48-92AC-8D3265143495}"/>
          </ac:spMkLst>
        </pc:spChg>
      </pc:sldChg>
      <pc:sldChg chg="modSp add del mod">
        <pc:chgData name="Henry" userId="02f5dd7c-8d1c-42af-a438-3c1752a452dc" providerId="ADAL" clId="{5942D110-875B-42FB-AC8A-CA70EB9445B0}" dt="2020-11-18T16:03:29.463" v="4341" actId="47"/>
        <pc:sldMkLst>
          <pc:docMk/>
          <pc:sldMk cId="2912564977" sldId="361"/>
        </pc:sldMkLst>
        <pc:spChg chg="mod">
          <ac:chgData name="Henry" userId="02f5dd7c-8d1c-42af-a438-3c1752a452dc" providerId="ADAL" clId="{5942D110-875B-42FB-AC8A-CA70EB9445B0}" dt="2020-11-18T16:03:02.123" v="4340" actId="113"/>
          <ac:spMkLst>
            <pc:docMk/>
            <pc:sldMk cId="2912564977" sldId="361"/>
            <ac:spMk id="13" creationId="{CBD02C1E-CFD4-BB48-92AC-8D3265143495}"/>
          </ac:spMkLst>
        </pc:spChg>
      </pc:sldChg>
      <pc:sldChg chg="modSp add mod ord">
        <pc:chgData name="Henry" userId="02f5dd7c-8d1c-42af-a438-3c1752a452dc" providerId="ADAL" clId="{5942D110-875B-42FB-AC8A-CA70EB9445B0}" dt="2020-11-20T14:13:33.094" v="20300"/>
        <pc:sldMkLst>
          <pc:docMk/>
          <pc:sldMk cId="2559387595" sldId="362"/>
        </pc:sldMkLst>
        <pc:spChg chg="mod">
          <ac:chgData name="Henry" userId="02f5dd7c-8d1c-42af-a438-3c1752a452dc" providerId="ADAL" clId="{5942D110-875B-42FB-AC8A-CA70EB9445B0}" dt="2020-11-19T13:44:12.845" v="6263" actId="20577"/>
          <ac:spMkLst>
            <pc:docMk/>
            <pc:sldMk cId="2559387595" sldId="362"/>
            <ac:spMk id="13" creationId="{CBD02C1E-CFD4-BB48-92AC-8D3265143495}"/>
          </ac:spMkLst>
        </pc:spChg>
      </pc:sldChg>
      <pc:sldChg chg="modSp add mod ord">
        <pc:chgData name="Henry" userId="02f5dd7c-8d1c-42af-a438-3c1752a452dc" providerId="ADAL" clId="{5942D110-875B-42FB-AC8A-CA70EB9445B0}" dt="2020-11-20T14:13:33.094" v="20300"/>
        <pc:sldMkLst>
          <pc:docMk/>
          <pc:sldMk cId="2398965765" sldId="363"/>
        </pc:sldMkLst>
        <pc:spChg chg="mod">
          <ac:chgData name="Henry" userId="02f5dd7c-8d1c-42af-a438-3c1752a452dc" providerId="ADAL" clId="{5942D110-875B-42FB-AC8A-CA70EB9445B0}" dt="2020-11-19T13:44:17.675" v="6268" actId="20577"/>
          <ac:spMkLst>
            <pc:docMk/>
            <pc:sldMk cId="2398965765" sldId="363"/>
            <ac:spMk id="13" creationId="{CBD02C1E-CFD4-BB48-92AC-8D3265143495}"/>
          </ac:spMkLst>
        </pc:spChg>
      </pc:sldChg>
      <pc:sldChg chg="addSp delSp modSp add mod ord">
        <pc:chgData name="Henry" userId="02f5dd7c-8d1c-42af-a438-3c1752a452dc" providerId="ADAL" clId="{5942D110-875B-42FB-AC8A-CA70EB9445B0}" dt="2020-11-20T12:39:00.965" v="17224"/>
        <pc:sldMkLst>
          <pc:docMk/>
          <pc:sldMk cId="4274455291" sldId="364"/>
        </pc:sldMkLst>
        <pc:spChg chg="del">
          <ac:chgData name="Henry" userId="02f5dd7c-8d1c-42af-a438-3c1752a452dc" providerId="ADAL" clId="{5942D110-875B-42FB-AC8A-CA70EB9445B0}" dt="2020-11-18T17:39:22.063" v="4842" actId="478"/>
          <ac:spMkLst>
            <pc:docMk/>
            <pc:sldMk cId="4274455291" sldId="364"/>
            <ac:spMk id="5" creationId="{D0F19A5A-8FDC-4CB4-B0FF-9D9FF2186347}"/>
          </ac:spMkLst>
        </pc:spChg>
        <pc:spChg chg="add mod">
          <ac:chgData name="Henry" userId="02f5dd7c-8d1c-42af-a438-3c1752a452dc" providerId="ADAL" clId="{5942D110-875B-42FB-AC8A-CA70EB9445B0}" dt="2020-11-18T17:43:03.716" v="4918" actId="20577"/>
          <ac:spMkLst>
            <pc:docMk/>
            <pc:sldMk cId="4274455291" sldId="364"/>
            <ac:spMk id="10" creationId="{0ACBEF4E-FC14-4918-B7E8-8461D24A2BA9}"/>
          </ac:spMkLst>
        </pc:spChg>
        <pc:spChg chg="add mod">
          <ac:chgData name="Henry" userId="02f5dd7c-8d1c-42af-a438-3c1752a452dc" providerId="ADAL" clId="{5942D110-875B-42FB-AC8A-CA70EB9445B0}" dt="2020-11-18T17:53:47.295" v="5226" actId="1076"/>
          <ac:spMkLst>
            <pc:docMk/>
            <pc:sldMk cId="4274455291" sldId="364"/>
            <ac:spMk id="14" creationId="{4A3FC9AA-F234-43D3-9B07-5DF7B13B6A69}"/>
          </ac:spMkLst>
        </pc:spChg>
        <pc:spChg chg="mod">
          <ac:chgData name="Henry" userId="02f5dd7c-8d1c-42af-a438-3c1752a452dc" providerId="ADAL" clId="{5942D110-875B-42FB-AC8A-CA70EB9445B0}" dt="2020-11-18T17:54:29.599" v="5233" actId="20577"/>
          <ac:spMkLst>
            <pc:docMk/>
            <pc:sldMk cId="4274455291" sldId="364"/>
            <ac:spMk id="91" creationId="{248BB64A-2681-154D-A068-C8F7AB789180}"/>
          </ac:spMkLst>
        </pc:spChg>
        <pc:grpChg chg="del">
          <ac:chgData name="Henry" userId="02f5dd7c-8d1c-42af-a438-3c1752a452dc" providerId="ADAL" clId="{5942D110-875B-42FB-AC8A-CA70EB9445B0}" dt="2020-11-18T17:39:17.752" v="4839" actId="478"/>
          <ac:grpSpMkLst>
            <pc:docMk/>
            <pc:sldMk cId="4274455291" sldId="364"/>
            <ac:grpSpMk id="4" creationId="{7E68E8C4-E188-4B6E-B069-4AB715FA4FCB}"/>
          </ac:grpSpMkLst>
        </pc:grpChg>
        <pc:graphicFrameChg chg="add mod modGraphic">
          <ac:chgData name="Henry" userId="02f5dd7c-8d1c-42af-a438-3c1752a452dc" providerId="ADAL" clId="{5942D110-875B-42FB-AC8A-CA70EB9445B0}" dt="2020-11-18T17:54:04.238" v="5227" actId="1076"/>
          <ac:graphicFrameMkLst>
            <pc:docMk/>
            <pc:sldMk cId="4274455291" sldId="364"/>
            <ac:graphicFrameMk id="7" creationId="{034AB3E0-B97C-4DEF-845B-2DF5DDBEAE3B}"/>
          </ac:graphicFrameMkLst>
        </pc:graphicFrameChg>
        <pc:picChg chg="add mod">
          <ac:chgData name="Henry" userId="02f5dd7c-8d1c-42af-a438-3c1752a452dc" providerId="ADAL" clId="{5942D110-875B-42FB-AC8A-CA70EB9445B0}" dt="2020-11-18T17:52:48.367" v="5178" actId="1076"/>
          <ac:picMkLst>
            <pc:docMk/>
            <pc:sldMk cId="4274455291" sldId="364"/>
            <ac:picMk id="6" creationId="{B5DB60B3-0D91-4D2D-9A98-EBFA4A1E9592}"/>
          </ac:picMkLst>
        </pc:picChg>
        <pc:cxnChg chg="add mod">
          <ac:chgData name="Henry" userId="02f5dd7c-8d1c-42af-a438-3c1752a452dc" providerId="ADAL" clId="{5942D110-875B-42FB-AC8A-CA70EB9445B0}" dt="2020-11-18T17:53:12.683" v="5185" actId="1038"/>
          <ac:cxnSpMkLst>
            <pc:docMk/>
            <pc:sldMk cId="4274455291" sldId="364"/>
            <ac:cxnSpMk id="9" creationId="{6C6DBFF9-2797-4055-9B4D-782A061A6647}"/>
          </ac:cxnSpMkLst>
        </pc:cxnChg>
      </pc:sldChg>
      <pc:sldChg chg="modSp add mod ord modNotesTx">
        <pc:chgData name="Henry" userId="02f5dd7c-8d1c-42af-a438-3c1752a452dc" providerId="ADAL" clId="{5942D110-875B-42FB-AC8A-CA70EB9445B0}" dt="2020-11-20T14:13:19.357" v="20298"/>
        <pc:sldMkLst>
          <pc:docMk/>
          <pc:sldMk cId="1596359803" sldId="365"/>
        </pc:sldMkLst>
        <pc:spChg chg="mod">
          <ac:chgData name="Henry" userId="02f5dd7c-8d1c-42af-a438-3c1752a452dc" providerId="ADAL" clId="{5942D110-875B-42FB-AC8A-CA70EB9445B0}" dt="2020-11-19T13:44:22.895" v="6273" actId="20577"/>
          <ac:spMkLst>
            <pc:docMk/>
            <pc:sldMk cId="1596359803" sldId="365"/>
            <ac:spMk id="13" creationId="{CBD02C1E-CFD4-BB48-92AC-8D3265143495}"/>
          </ac:spMkLst>
        </pc:spChg>
      </pc:sldChg>
      <pc:sldChg chg="addSp delSp modSp add mod ord modNotesTx">
        <pc:chgData name="Henry" userId="02f5dd7c-8d1c-42af-a438-3c1752a452dc" providerId="ADAL" clId="{5942D110-875B-42FB-AC8A-CA70EB9445B0}" dt="2020-11-20T13:53:32.082" v="20194" actId="1036"/>
        <pc:sldMkLst>
          <pc:docMk/>
          <pc:sldMk cId="2473160519" sldId="366"/>
        </pc:sldMkLst>
        <pc:spChg chg="mod">
          <ac:chgData name="Henry" userId="02f5dd7c-8d1c-42af-a438-3c1752a452dc" providerId="ADAL" clId="{5942D110-875B-42FB-AC8A-CA70EB9445B0}" dt="2020-11-18T17:56:11.313" v="5305" actId="20577"/>
          <ac:spMkLst>
            <pc:docMk/>
            <pc:sldMk cId="2473160519" sldId="366"/>
            <ac:spMk id="2" creationId="{F00647AE-3CD4-E943-AE87-01BA2E4FC820}"/>
          </ac:spMkLst>
        </pc:spChg>
        <pc:spChg chg="add mod">
          <ac:chgData name="Henry" userId="02f5dd7c-8d1c-42af-a438-3c1752a452dc" providerId="ADAL" clId="{5942D110-875B-42FB-AC8A-CA70EB9445B0}" dt="2020-11-20T13:53:06.231" v="20181" actId="1076"/>
          <ac:spMkLst>
            <pc:docMk/>
            <pc:sldMk cId="2473160519" sldId="366"/>
            <ac:spMk id="3" creationId="{04039836-B366-45C8-834D-D8F2A4357311}"/>
          </ac:spMkLst>
        </pc:spChg>
        <pc:spChg chg="del">
          <ac:chgData name="Henry" userId="02f5dd7c-8d1c-42af-a438-3c1752a452dc" providerId="ADAL" clId="{5942D110-875B-42FB-AC8A-CA70EB9445B0}" dt="2020-11-18T17:56:25.716" v="5307" actId="478"/>
          <ac:spMkLst>
            <pc:docMk/>
            <pc:sldMk cId="2473160519" sldId="366"/>
            <ac:spMk id="4" creationId="{68DA8C38-8324-104E-9E41-2F2F62997DD6}"/>
          </ac:spMkLst>
        </pc:spChg>
        <pc:spChg chg="add mod">
          <ac:chgData name="Henry" userId="02f5dd7c-8d1c-42af-a438-3c1752a452dc" providerId="ADAL" clId="{5942D110-875B-42FB-AC8A-CA70EB9445B0}" dt="2020-11-20T13:53:10.407" v="20182" actId="1076"/>
          <ac:spMkLst>
            <pc:docMk/>
            <pc:sldMk cId="2473160519" sldId="366"/>
            <ac:spMk id="7" creationId="{51A5FFDF-F9CE-45BD-8237-6D92C932E0EA}"/>
          </ac:spMkLst>
        </pc:spChg>
        <pc:spChg chg="del">
          <ac:chgData name="Henry" userId="02f5dd7c-8d1c-42af-a438-3c1752a452dc" providerId="ADAL" clId="{5942D110-875B-42FB-AC8A-CA70EB9445B0}" dt="2020-11-18T17:56:22.748" v="5306" actId="478"/>
          <ac:spMkLst>
            <pc:docMk/>
            <pc:sldMk cId="2473160519" sldId="366"/>
            <ac:spMk id="7" creationId="{7B5A644E-9D3D-3A4F-BD32-7F205B30CBBA}"/>
          </ac:spMkLst>
        </pc:spChg>
        <pc:spChg chg="add mod">
          <ac:chgData name="Henry" userId="02f5dd7c-8d1c-42af-a438-3c1752a452dc" providerId="ADAL" clId="{5942D110-875B-42FB-AC8A-CA70EB9445B0}" dt="2020-11-20T13:53:32.082" v="20194" actId="1036"/>
          <ac:spMkLst>
            <pc:docMk/>
            <pc:sldMk cId="2473160519" sldId="366"/>
            <ac:spMk id="11" creationId="{F6ABEB66-98A1-4B2C-BD8D-ADA00D6B395C}"/>
          </ac:spMkLst>
        </pc:spChg>
      </pc:sldChg>
      <pc:sldChg chg="add ord">
        <pc:chgData name="Henry" userId="02f5dd7c-8d1c-42af-a438-3c1752a452dc" providerId="ADAL" clId="{5942D110-875B-42FB-AC8A-CA70EB9445B0}" dt="2020-11-19T16:36:06.518" v="14111"/>
        <pc:sldMkLst>
          <pc:docMk/>
          <pc:sldMk cId="2159192248" sldId="367"/>
        </pc:sldMkLst>
      </pc:sldChg>
      <pc:sldMasterChg chg="modSldLayout">
        <pc:chgData name="Henry" userId="02f5dd7c-8d1c-42af-a438-3c1752a452dc" providerId="ADAL" clId="{5942D110-875B-42FB-AC8A-CA70EB9445B0}" dt="2020-11-18T17:41:41.034" v="4895" actId="1076"/>
        <pc:sldMasterMkLst>
          <pc:docMk/>
          <pc:sldMasterMk cId="2460954070" sldId="2147483660"/>
        </pc:sldMasterMkLst>
        <pc:sldLayoutChg chg="modSp mod">
          <pc:chgData name="Henry" userId="02f5dd7c-8d1c-42af-a438-3c1752a452dc" providerId="ADAL" clId="{5942D110-875B-42FB-AC8A-CA70EB9445B0}" dt="2020-11-18T17:41:41.034" v="4895" actId="1076"/>
          <pc:sldLayoutMkLst>
            <pc:docMk/>
            <pc:sldMasterMk cId="2460954070" sldId="2147483660"/>
            <pc:sldLayoutMk cId="949138452" sldId="2147483662"/>
          </pc:sldLayoutMkLst>
          <pc:spChg chg="mod">
            <ac:chgData name="Henry" userId="02f5dd7c-8d1c-42af-a438-3c1752a452dc" providerId="ADAL" clId="{5942D110-875B-42FB-AC8A-CA70EB9445B0}" dt="2020-11-18T17:41:41.034" v="4895" actId="1076"/>
            <ac:spMkLst>
              <pc:docMk/>
              <pc:sldMasterMk cId="2460954070" sldId="2147483660"/>
              <pc:sldLayoutMk cId="949138452" sldId="2147483662"/>
              <ac:spMk id="3" creationId="{00000000-0000-0000-0000-000000000000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10DCE3-A710-48FC-9082-A284996012B4}" type="datetimeFigureOut">
              <a:rPr lang="en-GB" smtClean="0"/>
              <a:t>19/11/2020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72A695-33B5-4B30-B9AB-FC7F27A8821D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39158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i </a:t>
            </a:r>
            <a:r>
              <a:rPr lang="de-DE" dirty="0" err="1"/>
              <a:t>everyone</a:t>
            </a:r>
            <a:r>
              <a:rPr lang="de-DE" dirty="0"/>
              <a:t>,</a:t>
            </a:r>
          </a:p>
          <a:p>
            <a:endParaRPr lang="de-DE" dirty="0"/>
          </a:p>
          <a:p>
            <a:r>
              <a:rPr lang="de-DE" dirty="0" err="1"/>
              <a:t>My</a:t>
            </a:r>
            <a:r>
              <a:rPr lang="de-DE" dirty="0"/>
              <a:t> </a:t>
            </a:r>
            <a:r>
              <a:rPr lang="de-DE" dirty="0" err="1"/>
              <a:t>nam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Henry Clausen and</a:t>
            </a:r>
          </a:p>
          <a:p>
            <a:endParaRPr lang="de-DE" dirty="0"/>
          </a:p>
          <a:p>
            <a:r>
              <a:rPr lang="de-DE" dirty="0"/>
              <a:t>I will </a:t>
            </a:r>
            <a:r>
              <a:rPr lang="de-DE" dirty="0" err="1"/>
              <a:t>tal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today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 on </a:t>
            </a:r>
            <a:r>
              <a:rPr lang="de-DE" dirty="0" err="1"/>
              <a:t>stepping</a:t>
            </a:r>
            <a:r>
              <a:rPr lang="de-DE" dirty="0"/>
              <a:t> </a:t>
            </a:r>
            <a:r>
              <a:rPr lang="de-DE" dirty="0" err="1"/>
              <a:t>ston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stat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detection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/>
              <a:t>I </a:t>
            </a:r>
            <a:r>
              <a:rPr lang="de-DE" dirty="0" err="1"/>
              <a:t>conducted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 </a:t>
            </a:r>
            <a:r>
              <a:rPr lang="de-DE" dirty="0" err="1"/>
              <a:t>together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David Aspinall </a:t>
            </a:r>
            <a:r>
              <a:rPr lang="de-DE" dirty="0" err="1"/>
              <a:t>from</a:t>
            </a:r>
            <a:r>
              <a:rPr lang="de-DE" dirty="0"/>
              <a:t> Edinburgh and Michael Gibson </a:t>
            </a:r>
            <a:r>
              <a:rPr lang="de-DE" dirty="0" err="1"/>
              <a:t>from</a:t>
            </a:r>
            <a:r>
              <a:rPr lang="de-DE" dirty="0"/>
              <a:t> BT </a:t>
            </a:r>
            <a:r>
              <a:rPr lang="de-DE" dirty="0" err="1"/>
              <a:t>research</a:t>
            </a:r>
            <a:r>
              <a:rPr lang="de-DE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53787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To simulate different types of network environments and congestion, we apply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Randomised levels of packet loss, RTTs, or bandwidth usage with TC </a:t>
            </a:r>
            <a:r>
              <a:rPr lang="en-GB" dirty="0" err="1"/>
              <a:t>netem</a:t>
            </a:r>
            <a:r>
              <a:rPr lang="en-GB" dirty="0"/>
              <a:t> to the container interface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We also use </a:t>
            </a:r>
            <a:r>
              <a:rPr lang="en-GB" dirty="0" err="1"/>
              <a:t>netem</a:t>
            </a:r>
            <a:r>
              <a:rPr lang="en-GB" dirty="0"/>
              <a:t> to apply jittered transfer delays to forwarded packets on the examined node, which are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drawn from a uniform distribution to mimic streaming service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Similarly, we insert random chaff packets to connections using </a:t>
            </a:r>
            <a:r>
              <a:rPr lang="en-GB" dirty="0" err="1"/>
              <a:t>netcat</a:t>
            </a:r>
            <a:r>
              <a:rPr lang="en-GB" dirty="0"/>
              <a:t>, with their interarrivals also mimicking streaming services, which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Has been proposed by </a:t>
            </a:r>
            <a:r>
              <a:rPr lang="en-GB" dirty="0" err="1"/>
              <a:t>Padhye</a:t>
            </a:r>
            <a:r>
              <a:rPr lang="en-GB" dirty="0"/>
              <a:t> et al. as an efficient way to add nois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48429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We created three different stepping-stone datasets,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With the first one containing baseline relayed connection pairs without any evasive behaviour,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And the second and third containing varying levels of chaff or delays.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As a control, we used the CAIDA traffic traces as general background, and also generating traffic from regular SSH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and streaming services to examine how well detection methods can distinguish between the attack data and traffic with similar characteristic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44453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For the evaluation, we tried to include methods that cover different detection techniques and evasion robustness claims.</a:t>
            </a:r>
          </a:p>
          <a:p>
            <a:endParaRPr lang="en-GB" dirty="0"/>
          </a:p>
          <a:p>
            <a:r>
              <a:rPr lang="en-GB" dirty="0"/>
              <a:t>We included traditional packet correlation method, as well two deep learning-based correlation method, one of which is very recent and the other a bit older.</a:t>
            </a:r>
          </a:p>
          <a:p>
            <a:endParaRPr lang="en-GB" dirty="0"/>
          </a:p>
          <a:p>
            <a:r>
              <a:rPr lang="en-GB" dirty="0"/>
              <a:t>We then include two successful RTT-based methods, as well as two anomaly-based methods and a watermarking method that promises robustness to jitter delays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72519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The first thing we did was analyse overall detection rates on the baseline-dataset, which does not contain any evasive technique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Here you see ROC-curve where the achieved true-positives of a method are plotted against the false-positives, here on a logarithmic scale, while varying the detection threshold.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Unsurprisingly, the watermarking method already achieves quite high detection-results at a false-positive rate of around 0.01%, which is an order of magnitude lower than the next best methods, the packet correlation and the first deep learning model.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The RTT-based methods and the older deep learning do not perform very well and only really start to reliably detect stepping-stones at a false-positive rate approaching 10%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We excluded the anomaly-based methods here since this dataset includes no evasive behaviou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69565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 now take a look at the second dataset to examine how</a:t>
            </a:r>
          </a:p>
          <a:p>
            <a:r>
              <a:rPr lang="en-GB" dirty="0"/>
              <a:t>transfer delays imposed by the attacker affect detection rate. For this,</a:t>
            </a:r>
          </a:p>
          <a:p>
            <a:r>
              <a:rPr lang="en-GB" dirty="0"/>
              <a:t>We fixed the false-positive rate at 0.4% for all methods and then measured </a:t>
            </a:r>
          </a:p>
          <a:p>
            <a:r>
              <a:rPr lang="en-GB" dirty="0"/>
              <a:t>the detection rate in dependence of the imposed maximum delay. </a:t>
            </a:r>
          </a:p>
          <a:p>
            <a:endParaRPr lang="en-GB" dirty="0"/>
          </a:p>
          <a:p>
            <a:r>
              <a:rPr lang="en-GB" dirty="0"/>
              <a:t>While the traditional packet-correlation is affected immediately, the watermarking method performs reasonably well for delays up to 300ms. </a:t>
            </a:r>
          </a:p>
          <a:p>
            <a:endParaRPr lang="en-GB" dirty="0"/>
          </a:p>
          <a:p>
            <a:r>
              <a:rPr lang="en-GB" dirty="0"/>
              <a:t>Even more remarkable is that detection rates for the newer deep-learning method seem to be relatively unaffected by the transfer delays.</a:t>
            </a:r>
          </a:p>
          <a:p>
            <a:endParaRPr lang="en-GB" dirty="0"/>
          </a:p>
          <a:p>
            <a:r>
              <a:rPr lang="en-GB" dirty="0"/>
              <a:t>The two anomaly-based methods only detect transfer delays relatively late at around 500ms or more, which is far higher than claimed by the author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73025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Lastly, we look at the performance of the selected methods under chaff perturbation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Again, we fixed the false-positive rate at 0.4% and plotted the detection rate against the ratio of chaff packets in the connections.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The main takeaway here is that detection rates for all methods decline if enough chaff is inserted. Surprisingly, the anomaly-based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methods were not able to reliably identify even excessively high amounts of chaff without raising false-positives in the benign streaming data,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Which leads us to conclude that an attacker can successfully disguise a stepping-stone connection as streaming-data to evade detection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The methods which perform best in the presence of smaller amounts of chaff are the watermarking and the newer and larger deep-learning model.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89352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main</a:t>
            </a:r>
            <a:r>
              <a:rPr lang="de-DE" dirty="0"/>
              <a:t> </a:t>
            </a:r>
            <a:r>
              <a:rPr lang="de-DE" dirty="0" err="1"/>
              <a:t>limitation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analysi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focused</a:t>
            </a:r>
            <a:r>
              <a:rPr lang="de-DE" dirty="0"/>
              <a:t> </a:t>
            </a:r>
            <a:r>
              <a:rPr lang="de-DE" dirty="0" err="1"/>
              <a:t>exclusively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ffec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nnection</a:t>
            </a:r>
            <a:r>
              <a:rPr lang="de-DE" dirty="0"/>
              <a:t> </a:t>
            </a:r>
          </a:p>
          <a:p>
            <a:r>
              <a:rPr lang="de-DE" dirty="0" err="1"/>
              <a:t>relay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acket stream. This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appropriat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ethods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focused</a:t>
            </a:r>
            <a:r>
              <a:rPr lang="de-DE" dirty="0"/>
              <a:t> on, but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nsuitable</a:t>
            </a:r>
            <a:r>
              <a:rPr lang="de-DE" dirty="0"/>
              <a:t> </a:t>
            </a:r>
            <a:r>
              <a:rPr lang="de-DE" dirty="0" err="1"/>
              <a:t>for</a:t>
            </a:r>
            <a:endParaRPr lang="de-DE" dirty="0"/>
          </a:p>
          <a:p>
            <a:r>
              <a:rPr lang="de-DE" dirty="0" err="1"/>
              <a:t>Behavioural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graph-based</a:t>
            </a:r>
            <a:r>
              <a:rPr lang="de-DE" dirty="0"/>
              <a:t> </a:t>
            </a:r>
            <a:r>
              <a:rPr lang="de-DE" dirty="0" err="1"/>
              <a:t>methods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focus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on </a:t>
            </a:r>
            <a:r>
              <a:rPr lang="de-DE" dirty="0" err="1"/>
              <a:t>features</a:t>
            </a:r>
            <a:r>
              <a:rPr lang="de-DE" dirty="0"/>
              <a:t> such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ntacted</a:t>
            </a:r>
            <a:r>
              <a:rPr lang="de-DE" dirty="0"/>
              <a:t> IP-</a:t>
            </a:r>
            <a:r>
              <a:rPr lang="de-DE" dirty="0" err="1"/>
              <a:t>addresses</a:t>
            </a:r>
            <a:endParaRPr lang="de-DE" dirty="0"/>
          </a:p>
          <a:p>
            <a:r>
              <a:rPr lang="de-DE" dirty="0" err="1"/>
              <a:t>Or</a:t>
            </a:r>
            <a:r>
              <a:rPr lang="de-DE" dirty="0"/>
              <a:t> potential </a:t>
            </a:r>
            <a:r>
              <a:rPr lang="de-DE" dirty="0" err="1"/>
              <a:t>chains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network.</a:t>
            </a:r>
          </a:p>
          <a:p>
            <a:endParaRPr lang="de-DE" dirty="0"/>
          </a:p>
          <a:p>
            <a:r>
              <a:rPr lang="de-DE" dirty="0" err="1"/>
              <a:t>Furthermore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id</a:t>
            </a:r>
            <a:r>
              <a:rPr lang="de-DE" dirty="0"/>
              <a:t> not </a:t>
            </a:r>
            <a:r>
              <a:rPr lang="de-DE" dirty="0" err="1"/>
              <a:t>look</a:t>
            </a:r>
            <a:r>
              <a:rPr lang="de-DE" dirty="0"/>
              <a:t> at </a:t>
            </a:r>
            <a:r>
              <a:rPr lang="de-DE" dirty="0" err="1"/>
              <a:t>another</a:t>
            </a:r>
            <a:r>
              <a:rPr lang="de-DE" dirty="0"/>
              <a:t> </a:t>
            </a:r>
            <a:r>
              <a:rPr lang="de-DE" dirty="0" err="1"/>
              <a:t>class</a:t>
            </a:r>
            <a:r>
              <a:rPr lang="de-DE" dirty="0"/>
              <a:t>, </a:t>
            </a:r>
            <a:r>
              <a:rPr lang="de-DE" dirty="0" err="1"/>
              <a:t>called</a:t>
            </a:r>
            <a:r>
              <a:rPr lang="de-DE" dirty="0"/>
              <a:t> store-and-forward </a:t>
            </a:r>
            <a:r>
              <a:rPr lang="de-DE" dirty="0" err="1"/>
              <a:t>stepping</a:t>
            </a:r>
            <a:r>
              <a:rPr lang="de-DE" dirty="0"/>
              <a:t> </a:t>
            </a:r>
            <a:r>
              <a:rPr lang="de-DE" dirty="0" err="1"/>
              <a:t>stones</a:t>
            </a:r>
            <a:r>
              <a:rPr lang="de-DE" dirty="0"/>
              <a:t>,</a:t>
            </a:r>
          </a:p>
          <a:p>
            <a:r>
              <a:rPr lang="de-DE" dirty="0" err="1"/>
              <a:t>Which</a:t>
            </a:r>
            <a:r>
              <a:rPr lang="de-DE" dirty="0"/>
              <a:t> do not </a:t>
            </a:r>
            <a:r>
              <a:rPr lang="de-DE" dirty="0" err="1"/>
              <a:t>operate</a:t>
            </a:r>
            <a:r>
              <a:rPr lang="de-DE" dirty="0"/>
              <a:t> in an </a:t>
            </a:r>
            <a:r>
              <a:rPr lang="de-DE" dirty="0" err="1"/>
              <a:t>interactive</a:t>
            </a:r>
            <a:r>
              <a:rPr lang="de-DE" dirty="0"/>
              <a:t> </a:t>
            </a:r>
            <a:r>
              <a:rPr lang="de-DE" dirty="0" err="1"/>
              <a:t>manner</a:t>
            </a:r>
            <a:r>
              <a:rPr lang="de-DE" dirty="0"/>
              <a:t>,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ame</a:t>
            </a:r>
            <a:r>
              <a:rPr lang="de-DE" dirty="0"/>
              <a:t> </a:t>
            </a:r>
            <a:r>
              <a:rPr lang="de-DE" dirty="0" err="1"/>
              <a:t>suggests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 err="1"/>
              <a:t>Finally</a:t>
            </a:r>
            <a:r>
              <a:rPr lang="de-DE" dirty="0"/>
              <a:t>, </a:t>
            </a:r>
            <a:r>
              <a:rPr lang="de-DE" dirty="0" err="1"/>
              <a:t>since</a:t>
            </a:r>
            <a:r>
              <a:rPr lang="de-DE" dirty="0"/>
              <a:t> </a:t>
            </a:r>
            <a:r>
              <a:rPr lang="de-DE" dirty="0" err="1"/>
              <a:t>non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urrently</a:t>
            </a:r>
            <a:r>
              <a:rPr lang="de-DE" dirty="0"/>
              <a:t> </a:t>
            </a:r>
            <a:r>
              <a:rPr lang="de-DE" dirty="0" err="1"/>
              <a:t>published</a:t>
            </a:r>
            <a:r>
              <a:rPr lang="de-DE" dirty="0"/>
              <a:t> </a:t>
            </a:r>
            <a:r>
              <a:rPr lang="de-DE" dirty="0" err="1"/>
              <a:t>method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describ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being</a:t>
            </a:r>
            <a:r>
              <a:rPr lang="de-DE" dirty="0"/>
              <a:t> robust </a:t>
            </a:r>
            <a:r>
              <a:rPr lang="de-DE" dirty="0" err="1"/>
              <a:t>against</a:t>
            </a:r>
            <a:r>
              <a:rPr lang="de-DE" dirty="0"/>
              <a:t> </a:t>
            </a:r>
            <a:r>
              <a:rPr lang="de-DE" dirty="0" err="1"/>
              <a:t>flow</a:t>
            </a:r>
            <a:r>
              <a:rPr lang="de-DE" dirty="0"/>
              <a:t>-splitting,</a:t>
            </a:r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id</a:t>
            </a:r>
            <a:r>
              <a:rPr lang="de-DE" dirty="0"/>
              <a:t> not </a:t>
            </a:r>
            <a:r>
              <a:rPr lang="de-DE" dirty="0" err="1"/>
              <a:t>include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techniqu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generation</a:t>
            </a:r>
            <a:r>
              <a:rPr lang="de-DE" dirty="0"/>
              <a:t>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59512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nclude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realising</a:t>
            </a:r>
            <a:r>
              <a:rPr lang="de-DE" dirty="0"/>
              <a:t> a large </a:t>
            </a:r>
            <a:r>
              <a:rPr lang="de-DE" dirty="0" err="1"/>
              <a:t>independent</a:t>
            </a:r>
            <a:r>
              <a:rPr lang="de-DE" dirty="0"/>
              <a:t> </a:t>
            </a:r>
            <a:r>
              <a:rPr lang="de-DE" dirty="0" err="1"/>
              <a:t>datase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reasercher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, </a:t>
            </a:r>
          </a:p>
          <a:p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features</a:t>
            </a:r>
            <a:r>
              <a:rPr lang="de-DE" dirty="0"/>
              <a:t> </a:t>
            </a:r>
            <a:r>
              <a:rPr lang="de-DE" dirty="0" err="1"/>
              <a:t>realistic</a:t>
            </a:r>
            <a:r>
              <a:rPr lang="de-DE" dirty="0"/>
              <a:t> SSH-</a:t>
            </a:r>
            <a:r>
              <a:rPr lang="de-DE" dirty="0" err="1"/>
              <a:t>interactions</a:t>
            </a:r>
            <a:r>
              <a:rPr lang="de-DE" dirty="0"/>
              <a:t> and different </a:t>
            </a:r>
            <a:r>
              <a:rPr lang="de-DE" dirty="0" err="1"/>
              <a:t>level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evasive </a:t>
            </a:r>
            <a:r>
              <a:rPr lang="de-DE" dirty="0" err="1"/>
              <a:t>tactics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currently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reating</a:t>
            </a:r>
            <a:r>
              <a:rPr lang="de-DE" dirty="0"/>
              <a:t> a </a:t>
            </a:r>
            <a:r>
              <a:rPr lang="de-DE" dirty="0" err="1"/>
              <a:t>suitable</a:t>
            </a:r>
            <a:r>
              <a:rPr lang="de-DE" dirty="0"/>
              <a:t> </a:t>
            </a:r>
            <a:r>
              <a:rPr lang="de-DE" dirty="0" err="1"/>
              <a:t>repositor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, </a:t>
            </a:r>
            <a:r>
              <a:rPr lang="de-DE" dirty="0" err="1"/>
              <a:t>you</a:t>
            </a:r>
            <a:r>
              <a:rPr lang="de-DE" dirty="0"/>
              <a:t> will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b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find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und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ollowing</a:t>
            </a:r>
            <a:r>
              <a:rPr lang="de-DE" dirty="0"/>
              <a:t> </a:t>
            </a:r>
            <a:r>
              <a:rPr lang="de-DE" dirty="0" err="1"/>
              <a:t>address</a:t>
            </a:r>
            <a:r>
              <a:rPr lang="de-DE" dirty="0"/>
              <a:t>.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evaluation</a:t>
            </a:r>
            <a:r>
              <a:rPr lang="de-DE" dirty="0"/>
              <a:t> </a:t>
            </a:r>
            <a:r>
              <a:rPr lang="de-DE" dirty="0" err="1"/>
              <a:t>demonstrate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etection</a:t>
            </a:r>
            <a:r>
              <a:rPr lang="de-DE" dirty="0"/>
              <a:t> </a:t>
            </a:r>
            <a:r>
              <a:rPr lang="de-DE" dirty="0" err="1"/>
              <a:t>rates</a:t>
            </a:r>
            <a:r>
              <a:rPr lang="de-DE" dirty="0"/>
              <a:t> on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datase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any</a:t>
            </a:r>
            <a:r>
              <a:rPr lang="de-DE" dirty="0"/>
              <a:t> </a:t>
            </a:r>
            <a:r>
              <a:rPr lang="de-DE" dirty="0" err="1"/>
              <a:t>method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actually</a:t>
            </a:r>
            <a:r>
              <a:rPr lang="de-DE" dirty="0"/>
              <a:t> </a:t>
            </a:r>
            <a:r>
              <a:rPr lang="de-DE" dirty="0" err="1"/>
              <a:t>lower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</a:t>
            </a:r>
            <a:r>
              <a:rPr lang="de-DE" dirty="0" err="1"/>
              <a:t>stated</a:t>
            </a:r>
            <a:r>
              <a:rPr lang="de-DE" dirty="0"/>
              <a:t>, </a:t>
            </a:r>
          </a:p>
          <a:p>
            <a:r>
              <a:rPr lang="de-DE" dirty="0"/>
              <a:t>And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severe</a:t>
            </a:r>
            <a:r>
              <a:rPr lang="de-DE" dirty="0"/>
              <a:t> lack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robustness</a:t>
            </a:r>
            <a:r>
              <a:rPr lang="de-DE" dirty="0"/>
              <a:t> </a:t>
            </a:r>
            <a:r>
              <a:rPr lang="de-DE" dirty="0" err="1"/>
              <a:t>against</a:t>
            </a:r>
            <a:r>
              <a:rPr lang="de-DE" dirty="0"/>
              <a:t> </a:t>
            </a:r>
            <a:r>
              <a:rPr lang="de-DE" dirty="0" err="1"/>
              <a:t>chaff</a:t>
            </a:r>
            <a:r>
              <a:rPr lang="de-DE" dirty="0"/>
              <a:t> </a:t>
            </a:r>
            <a:r>
              <a:rPr lang="de-DE" dirty="0" err="1"/>
              <a:t>instertion</a:t>
            </a:r>
            <a:r>
              <a:rPr lang="de-DE" dirty="0"/>
              <a:t>.</a:t>
            </a:r>
          </a:p>
          <a:p>
            <a:r>
              <a:rPr lang="de-DE" dirty="0" err="1"/>
              <a:t>Currently</a:t>
            </a:r>
            <a:r>
              <a:rPr lang="de-DE" dirty="0"/>
              <a:t>,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looks</a:t>
            </a:r>
            <a:r>
              <a:rPr lang="de-DE" dirty="0"/>
              <a:t> like </a:t>
            </a:r>
            <a:r>
              <a:rPr lang="de-DE" dirty="0" err="1"/>
              <a:t>watermarking</a:t>
            </a:r>
            <a:r>
              <a:rPr lang="de-DE" dirty="0"/>
              <a:t> and large </a:t>
            </a:r>
            <a:r>
              <a:rPr lang="de-DE" dirty="0" err="1"/>
              <a:t>deep</a:t>
            </a:r>
            <a:r>
              <a:rPr lang="de-DE" dirty="0"/>
              <a:t>-</a:t>
            </a:r>
            <a:r>
              <a:rPr lang="de-DE" dirty="0" err="1"/>
              <a:t>learning</a:t>
            </a:r>
            <a:r>
              <a:rPr lang="de-DE" dirty="0"/>
              <a:t>-models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a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o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 err="1"/>
              <a:t>That‘s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, and </a:t>
            </a:r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483414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Execution script contai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Selected </a:t>
            </a:r>
            <a:r>
              <a:rPr lang="en-GB" dirty="0" err="1"/>
              <a:t>subscenario</a:t>
            </a:r>
            <a:endParaRPr lang="en-GB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Number of repea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Randomised inpu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WAN emul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796745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ince traffic is generated from scripted activities, traffic variation is dependent on the range of these activities</a:t>
            </a:r>
          </a:p>
          <a:p>
            <a:endParaRPr lang="en-GB" dirty="0"/>
          </a:p>
          <a:p>
            <a:r>
              <a:rPr lang="en-GB" dirty="0"/>
              <a:t>Attention is usually paid to cover a wide range of popular protocols</a:t>
            </a:r>
          </a:p>
          <a:p>
            <a:r>
              <a:rPr lang="en-GB" dirty="0"/>
              <a:t>We found that within ind. Protocols, these tasks conduct little exploration of the available options</a:t>
            </a:r>
          </a:p>
          <a:p>
            <a:endParaRPr lang="en-GB" dirty="0"/>
          </a:p>
          <a:p>
            <a:r>
              <a:rPr lang="en-GB" dirty="0"/>
              <a:t>Example are ftp connections within </a:t>
            </a:r>
            <a:r>
              <a:rPr lang="en-GB" dirty="0" err="1"/>
              <a:t>cic</a:t>
            </a:r>
            <a:r>
              <a:rPr lang="en-GB" dirty="0"/>
              <a:t>-ids 17, </a:t>
            </a:r>
          </a:p>
          <a:p>
            <a:endParaRPr lang="en-GB" dirty="0"/>
          </a:p>
          <a:p>
            <a:r>
              <a:rPr lang="en-GB" dirty="0"/>
              <a:t>Deleting files, fetching multiple files at once, printing path, etc. </a:t>
            </a:r>
          </a:p>
          <a:p>
            <a:endParaRPr lang="en-GB" dirty="0"/>
          </a:p>
          <a:p>
            <a:r>
              <a:rPr lang="en-GB" dirty="0"/>
              <a:t>Same file over again, this will limit the observed numbers of packets , their direction, and the connection size</a:t>
            </a:r>
          </a:p>
          <a:p>
            <a:endParaRPr lang="en-GB" dirty="0"/>
          </a:p>
          <a:p>
            <a:r>
              <a:rPr lang="en-GB" dirty="0"/>
              <a:t>Another source of variation that is neglected are of more technical nature and include</a:t>
            </a:r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Can alter observed packet/flow signat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46667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o start, I just want to highlight the two main contributions of this work:</a:t>
            </a:r>
          </a:p>
          <a:p>
            <a:endParaRPr lang="en-GB" dirty="0"/>
          </a:p>
          <a:p>
            <a:r>
              <a:rPr lang="en-GB" dirty="0"/>
              <a:t>The first one is a large dataset that contains traffic from realistic stepping-stone connections that we intend to make public.</a:t>
            </a:r>
          </a:p>
          <a:p>
            <a:endParaRPr lang="en-GB" dirty="0"/>
          </a:p>
          <a:p>
            <a:r>
              <a:rPr lang="en-GB" dirty="0"/>
              <a:t>The second one is an in-depth evaluation of eight state-of-the-art stepping-stone methods that for the first time enables us to compare the results from </a:t>
            </a:r>
          </a:p>
          <a:p>
            <a:r>
              <a:rPr lang="en-GB" dirty="0"/>
              <a:t>different methods and asses their capabilitie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718732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L and application to net security and net data</a:t>
            </a:r>
          </a:p>
          <a:p>
            <a:endParaRPr lang="en-GB" dirty="0"/>
          </a:p>
          <a:p>
            <a:r>
              <a:rPr lang="en-GB" dirty="0"/>
              <a:t>Problems we found in current datase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751955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L and application to net security and net data</a:t>
            </a:r>
          </a:p>
          <a:p>
            <a:endParaRPr lang="en-GB" dirty="0"/>
          </a:p>
          <a:p>
            <a:r>
              <a:rPr lang="en-GB" dirty="0"/>
              <a:t>Problems we found in current datase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85418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213514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o outline this presentation, I will first give a  brief overview over stepping-stones and methods to detect them</a:t>
            </a:r>
          </a:p>
          <a:p>
            <a:endParaRPr lang="en-GB" dirty="0"/>
          </a:p>
          <a:p>
            <a:r>
              <a:rPr lang="en-GB" dirty="0"/>
              <a:t>I will then explain the process we followed to generated realistic stepping-stone data,</a:t>
            </a:r>
          </a:p>
          <a:p>
            <a:r>
              <a:rPr lang="en-GB" dirty="0"/>
              <a:t>and then go through the results of our evaluation, before giving our conclusion and limitation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070815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o outline this presentation, I will first give a  brief overview over stepping-stones and methods to detect them</a:t>
            </a:r>
          </a:p>
          <a:p>
            <a:endParaRPr lang="en-GB" dirty="0"/>
          </a:p>
          <a:p>
            <a:r>
              <a:rPr lang="en-GB" dirty="0"/>
              <a:t>I will then explain the process we followed to generated realistic stepping-stone data,</a:t>
            </a:r>
          </a:p>
          <a:p>
            <a:r>
              <a:rPr lang="en-GB" dirty="0"/>
              <a:t>and then go through the results of our evaluation, before giving our conclusion and limitations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574159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L and application to net security and net data</a:t>
            </a:r>
          </a:p>
          <a:p>
            <a:endParaRPr lang="en-GB" dirty="0"/>
          </a:p>
          <a:p>
            <a:r>
              <a:rPr lang="en-GB" dirty="0"/>
              <a:t>Problems we found in current datase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225440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L and application to net security and net data</a:t>
            </a:r>
          </a:p>
          <a:p>
            <a:endParaRPr lang="en-GB" dirty="0"/>
          </a:p>
          <a:p>
            <a:r>
              <a:rPr lang="en-GB" dirty="0"/>
              <a:t>Problems we found in current datase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273496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ile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vides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reat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ight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o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mall-scale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ffic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uctures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amework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ill not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plicate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alistic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network-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de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uctures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such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rt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age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stributions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ng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term temporal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tivity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endParaRPr lang="de-D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se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antities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uld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ve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tistically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stimated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ther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eal-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ld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ffic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forehand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cluded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alescing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cess</a:t>
            </a:r>
            <a:endParaRPr lang="de-D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de-D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low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ur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amework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ulate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uch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havior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liably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endParaRPr lang="de-D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ther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setssuch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GR-16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e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roach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se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eal-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ld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ynthetic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ffic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e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rrently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tter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ited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ild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dels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rge-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aletraffic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uctures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254615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r>
              <a:rPr lang="de-DE" dirty="0" err="1"/>
              <a:t>expand</a:t>
            </a:r>
            <a:r>
              <a:rPr lang="de-DE" dirty="0"/>
              <a:t> </a:t>
            </a:r>
            <a:r>
              <a:rPr lang="de-DE" dirty="0" err="1"/>
              <a:t>explanation</a:t>
            </a:r>
            <a:r>
              <a:rPr lang="de-DE" dirty="0"/>
              <a:t> on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ress</a:t>
            </a:r>
            <a:r>
              <a:rPr lang="de-DE" dirty="0"/>
              <a:t> </a:t>
            </a:r>
            <a:r>
              <a:rPr lang="de-DE" dirty="0" err="1"/>
              <a:t>limitation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742647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ew programming paradigm </a:t>
            </a:r>
          </a:p>
          <a:p>
            <a:endParaRPr lang="en-GB" dirty="0"/>
          </a:p>
          <a:p>
            <a:r>
              <a:rPr lang="en-GB" dirty="0"/>
              <a:t>Isolated and independent of host OS</a:t>
            </a:r>
          </a:p>
          <a:p>
            <a:endParaRPr lang="en-GB" dirty="0"/>
          </a:p>
          <a:p>
            <a:r>
              <a:rPr lang="en-GB" dirty="0"/>
              <a:t>including IP addresses</a:t>
            </a:r>
          </a:p>
          <a:p>
            <a:endParaRPr lang="en-GB" dirty="0"/>
          </a:p>
          <a:p>
            <a:r>
              <a:rPr lang="en-GB" dirty="0"/>
              <a:t>This arrangement of isolated programs into a network rather than full-fledged operating systems will enable us to make more accurate ground truth statements about collected traffi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65245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k, so a stepping-stone is a node that is used by an attacker to relay their attack.</a:t>
            </a:r>
          </a:p>
          <a:p>
            <a:endParaRPr lang="en-GB" dirty="0"/>
          </a:p>
          <a:p>
            <a:r>
              <a:rPr lang="en-GB" dirty="0"/>
              <a:t>This is often done to access otherwise protected resources like an enterprise server, with the stepping-stone being a computer inside the target network.</a:t>
            </a:r>
          </a:p>
          <a:p>
            <a:r>
              <a:rPr lang="en-GB" dirty="0"/>
              <a:t>Stepping-stones are also often used to hide the true origin of an attack behind a chain of relay hosts.</a:t>
            </a:r>
          </a:p>
          <a:p>
            <a:endParaRPr lang="en-GB" dirty="0"/>
          </a:p>
          <a:p>
            <a:r>
              <a:rPr lang="en-GB" dirty="0"/>
              <a:t>Stepping-stones are usually used in an encrypted interactive session, and are often established with tools such as SSH-tunnels, </a:t>
            </a:r>
            <a:r>
              <a:rPr lang="en-GB" dirty="0" err="1"/>
              <a:t>backpipes</a:t>
            </a:r>
            <a:r>
              <a:rPr lang="en-GB" dirty="0"/>
              <a:t>, or proxies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9737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pplications of ML in … that are already in place or are seen as promising in the future are </a:t>
            </a:r>
            <a:r>
              <a:rPr lang="en-GB" dirty="0" err="1"/>
              <a:t>multifold</a:t>
            </a:r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I have included some graphical examples of this, </a:t>
            </a:r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give more details on bullet poi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688809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We created four different stepping-stone datasets,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With the first one containing relayed connection pairs without any evasive behaviour,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And the second and third containing varying levels of chaff or delays. The fourth dataset explores the effect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Of the stepping-stone chain length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As background data, w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4968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r>
              <a:rPr lang="en-GB" dirty="0"/>
              <a:t>The goal of stepping-stone detection is normally to detect indications of an ongoing attack before it reaches its target,</a:t>
            </a:r>
          </a:p>
          <a:p>
            <a:r>
              <a:rPr lang="en-GB" dirty="0"/>
              <a:t>And to help trace the attack back to its origin</a:t>
            </a:r>
          </a:p>
          <a:p>
            <a:endParaRPr lang="en-GB" dirty="0"/>
          </a:p>
          <a:p>
            <a:r>
              <a:rPr lang="en-GB" dirty="0"/>
              <a:t>For this, a sensor is placed in a network that records the incoming and outgoing connections for each host and, depending on the methods, attempts to measure whether an incoming and an outgoing connection carry the same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17508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 common technique to detect stepping-stones is Watermarking, where a </a:t>
            </a:r>
            <a:r>
              <a:rPr lang="en-GB" dirty="0" err="1"/>
              <a:t>bitstring</a:t>
            </a:r>
            <a:r>
              <a:rPr lang="en-GB" dirty="0"/>
              <a:t> is actively embedded in the first packet stream by altering packet interarrival times. This watermark is then detected in the forwarded packet stream</a:t>
            </a:r>
          </a:p>
          <a:p>
            <a:endParaRPr lang="en-GB" dirty="0"/>
          </a:p>
          <a:p>
            <a:r>
              <a:rPr lang="en-GB" dirty="0"/>
              <a:t>Another popular technique is packet correlation, where similar packets that occur in both streams are matched through their size, timing, and other metadata, and accumulated as evidence of a relay.</a:t>
            </a:r>
          </a:p>
          <a:p>
            <a:endParaRPr lang="en-GB" dirty="0"/>
          </a:p>
          <a:p>
            <a:r>
              <a:rPr lang="en-GB" dirty="0"/>
              <a:t>Furthermore, some methods attempt to measure  excessive round-trip-time in a connection, a characteristic of relayed connections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5581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ttackers can try to evade detection by adding jittered transfer delays to forwarded packets in order to destroy watermarks or packet matching,</a:t>
            </a:r>
          </a:p>
          <a:p>
            <a:r>
              <a:rPr lang="en-GB" dirty="0"/>
              <a:t>And can insert additional packets in each connections to make the signal more noisy. </a:t>
            </a:r>
          </a:p>
          <a:p>
            <a:endParaRPr lang="en-GB" dirty="0"/>
          </a:p>
          <a:p>
            <a:r>
              <a:rPr lang="en-GB" dirty="0"/>
              <a:t>Anomaly-based methods attempt to identify these perturbations as another attack indicator. </a:t>
            </a:r>
          </a:p>
          <a:p>
            <a:endParaRPr lang="en-GB" dirty="0"/>
          </a:p>
          <a:p>
            <a:r>
              <a:rPr lang="en-GB" dirty="0" err="1"/>
              <a:t>Repacketisation</a:t>
            </a:r>
            <a:r>
              <a:rPr lang="en-GB" dirty="0"/>
              <a:t> and flow splitting have also been discussed as evasive tactic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2155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The motivation for us to undertake this work is that it is currently impossible to compare results of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Different detection methods to each other.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The main reason for this is that there exists no public dataset that contains stepping-stone data, which lead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Researchers to use self-generated data. However, the generation of this data is often not independent and heavily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influenced by the researcher’s perception of stepping-stone behaviour. We have often seen that the conducted attack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communication is overly simplistic and lacking realistic aspects such as waiting times etc., or that unfounded assumptions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about the chaff or jitter perturbations are made such as limits on the amount of chaff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Another reason is a lack of evaluation standards, such as an agreed number of packets necessary for detection or an maximum tolerable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false-positive rates. It very hard to compare the stated detection rates of two models if they are achieved under different condition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25430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The goal in our setup was to provide independent data that can yield different setting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To highlight the strengths and weaknesses of methods in varying conditions.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Our attack scenario consists of interactive SSH-sessions that are forwarded from host to host using SSH-tunnel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The command-scripts are generated for each session by drawing and concatenating common SSH-commands randomly,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And separating them with sleep intervals of random length to simulate the reaction time of an attacker. The input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Such as passwords, </a:t>
            </a:r>
            <a:r>
              <a:rPr lang="en-GB" dirty="0" err="1"/>
              <a:t>textfile</a:t>
            </a:r>
            <a:r>
              <a:rPr lang="en-GB" dirty="0"/>
              <a:t> inputs or </a:t>
            </a:r>
            <a:r>
              <a:rPr lang="en-GB" dirty="0" err="1"/>
              <a:t>directorys</a:t>
            </a:r>
            <a:r>
              <a:rPr lang="en-GB" dirty="0"/>
              <a:t> are also randomised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To ensure that each session is conducted in a reproducible manner, we relied on containerised applications that communicate in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A virtual container network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69014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A crucial aspect of SSH-tunnels is that they automatically repacketize and encrypt the forwarded contents,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And send independent ack-packets, which makes packet matching harder and is a reason why SSH-tunnels are often used for stepping ston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72A695-33B5-4B30-B9AB-FC7F27A8821D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0175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6760" y="1815206"/>
            <a:ext cx="10515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19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19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19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19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19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19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gi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1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Nr.›</a:t>
            </a:fld>
            <a:endParaRPr lang="en-US" dirty="0"/>
          </a:p>
        </p:txBody>
      </p:sp>
      <p:pic>
        <p:nvPicPr>
          <p:cNvPr id="7" name="Picture 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DDA16151-1E55-0D4A-8689-3C114E7A8725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201309" y="5916050"/>
            <a:ext cx="2636575" cy="707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.png"/><Relationship Id="rId7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1.gif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1.gif"/><Relationship Id="rId5" Type="http://schemas.openxmlformats.org/officeDocument/2006/relationships/image" Target="../media/image21.emf"/><Relationship Id="rId4" Type="http://schemas.openxmlformats.org/officeDocument/2006/relationships/image" Target="../media/image20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1.gif"/><Relationship Id="rId4" Type="http://schemas.openxmlformats.org/officeDocument/2006/relationships/image" Target="../media/image2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23.emf"/><Relationship Id="rId4" Type="http://schemas.openxmlformats.org/officeDocument/2006/relationships/image" Target="../media/image1.gi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24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30.png"/><Relationship Id="rId11" Type="http://schemas.openxmlformats.org/officeDocument/2006/relationships/image" Target="../media/image34.png"/><Relationship Id="rId5" Type="http://schemas.openxmlformats.org/officeDocument/2006/relationships/image" Target="../media/image29.png"/><Relationship Id="rId10" Type="http://schemas.openxmlformats.org/officeDocument/2006/relationships/image" Target="../media/image14.png"/><Relationship Id="rId4" Type="http://schemas.openxmlformats.org/officeDocument/2006/relationships/image" Target="../media/image1.gif"/><Relationship Id="rId9" Type="http://schemas.openxmlformats.org/officeDocument/2006/relationships/image" Target="../media/image3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gif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4" Type="http://schemas.openxmlformats.org/officeDocument/2006/relationships/image" Target="../media/image1.gi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4" Type="http://schemas.openxmlformats.org/officeDocument/2006/relationships/image" Target="../media/image1.gi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4" Type="http://schemas.openxmlformats.org/officeDocument/2006/relationships/image" Target="../media/image1.gi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4" Type="http://schemas.openxmlformats.org/officeDocument/2006/relationships/image" Target="../media/image1.gi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4" Type="http://schemas.openxmlformats.org/officeDocument/2006/relationships/image" Target="../media/image1.gi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4" Type="http://schemas.openxmlformats.org/officeDocument/2006/relationships/image" Target="../media/image1.gi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4" Type="http://schemas.openxmlformats.org/officeDocument/2006/relationships/image" Target="../media/image1.gi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7.png"/><Relationship Id="rId4" Type="http://schemas.openxmlformats.org/officeDocument/2006/relationships/image" Target="../media/image1.gif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1.gif"/><Relationship Id="rId9" Type="http://schemas.openxmlformats.org/officeDocument/2006/relationships/image" Target="../media/image3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5" Type="http://schemas.openxmlformats.org/officeDocument/2006/relationships/image" Target="../media/image20.png"/><Relationship Id="rId4" Type="http://schemas.openxmlformats.org/officeDocument/2006/relationships/image" Target="../media/image3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1.gif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4.png"/><Relationship Id="rId4" Type="http://schemas.openxmlformats.org/officeDocument/2006/relationships/image" Target="../media/image1.gi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5.png"/><Relationship Id="rId4" Type="http://schemas.openxmlformats.org/officeDocument/2006/relationships/image" Target="../media/image1.gi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1.png"/><Relationship Id="rId5" Type="http://schemas.openxmlformats.org/officeDocument/2006/relationships/image" Target="../media/image200.png"/><Relationship Id="rId4" Type="http://schemas.openxmlformats.org/officeDocument/2006/relationships/image" Target="../media/image19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4.png"/><Relationship Id="rId11" Type="http://schemas.openxmlformats.org/officeDocument/2006/relationships/image" Target="../media/image16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6">
            <a:extLst>
              <a:ext uri="{FF2B5EF4-FFF2-40B4-BE49-F238E27FC236}">
                <a16:creationId xmlns:a16="http://schemas.microsoft.com/office/drawing/2014/main" id="{3DD9138E-F72A-3D44-9135-DECFBE031B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849192" y="1"/>
            <a:ext cx="15891641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35555856-9970-4BC3-9AA9-6A917F53A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69972" y="0"/>
            <a:ext cx="6421721" cy="685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7F487851-BFAF-46D8-A1ED-50CAD6E46F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4484" y="4267832"/>
            <a:ext cx="4805996" cy="1297115"/>
          </a:xfrm>
        </p:spPr>
        <p:txBody>
          <a:bodyPr anchor="t">
            <a:normAutofit/>
          </a:bodyPr>
          <a:lstStyle/>
          <a:p>
            <a:pPr algn="l"/>
            <a:r>
              <a:rPr lang="en-US" sz="2800" dirty="0">
                <a:solidFill>
                  <a:srgbClr val="000000"/>
                </a:solidFill>
                <a:latin typeface="Trebuchet MS" panose="020B0703020202090204" pitchFamily="34" charset="0"/>
              </a:rPr>
              <a:t>Evading stepping-stone detection with enough chaff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04788" y="3428999"/>
            <a:ext cx="4964877" cy="838831"/>
          </a:xfrm>
        </p:spPr>
        <p:txBody>
          <a:bodyPr anchor="b">
            <a:normAutofit/>
          </a:bodyPr>
          <a:lstStyle/>
          <a:p>
            <a:pPr algn="l"/>
            <a:r>
              <a:rPr lang="en-US" sz="1800" dirty="0">
                <a:solidFill>
                  <a:srgbClr val="000000"/>
                </a:solidFill>
                <a:latin typeface="Trebuchet MS" panose="020B0703020202090204" pitchFamily="34" charset="0"/>
                <a:cs typeface="Calibri"/>
              </a:rPr>
              <a:t>Henry Clausen, David Aspinall, </a:t>
            </a:r>
            <a:r>
              <a:rPr lang="de-DE" sz="1800" dirty="0">
                <a:solidFill>
                  <a:srgbClr val="000000"/>
                </a:solidFill>
                <a:latin typeface="Trebuchet MS" panose="020B0703020202090204" pitchFamily="34" charset="0"/>
                <a:cs typeface="Calibri"/>
              </a:rPr>
              <a:t>Michael Gibson</a:t>
            </a:r>
            <a:endParaRPr lang="en-US" sz="1800" dirty="0">
              <a:solidFill>
                <a:srgbClr val="000000"/>
              </a:solidFill>
              <a:latin typeface="Trebuchet MS" panose="020B0703020202090204" pitchFamily="34" charset="0"/>
            </a:endParaRPr>
          </a:p>
        </p:txBody>
      </p:sp>
      <p:sp>
        <p:nvSpPr>
          <p:cNvPr id="34" name="Freeform 50">
            <a:extLst>
              <a:ext uri="{FF2B5EF4-FFF2-40B4-BE49-F238E27FC236}">
                <a16:creationId xmlns:a16="http://schemas.microsoft.com/office/drawing/2014/main" id="{13722DD7-BA73-4776-93A3-94491FEF7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727121" y="581159"/>
            <a:ext cx="5464879" cy="6276841"/>
          </a:xfrm>
          <a:custGeom>
            <a:avLst/>
            <a:gdLst>
              <a:gd name="connsiteX0" fmla="*/ 3299930 w 5464879"/>
              <a:gd name="connsiteY0" fmla="*/ 0 h 6276841"/>
              <a:gd name="connsiteX1" fmla="*/ 5398992 w 5464879"/>
              <a:gd name="connsiteY1" fmla="*/ 753544 h 6276841"/>
              <a:gd name="connsiteX2" fmla="*/ 5464879 w 5464879"/>
              <a:gd name="connsiteY2" fmla="*/ 813426 h 6276841"/>
              <a:gd name="connsiteX3" fmla="*/ 5464879 w 5464879"/>
              <a:gd name="connsiteY3" fmla="*/ 5786434 h 6276841"/>
              <a:gd name="connsiteX4" fmla="*/ 5398992 w 5464879"/>
              <a:gd name="connsiteY4" fmla="*/ 5846317 h 6276841"/>
              <a:gd name="connsiteX5" fmla="*/ 4872873 w 5464879"/>
              <a:gd name="connsiteY5" fmla="*/ 6201577 h 6276841"/>
              <a:gd name="connsiteX6" fmla="*/ 4716632 w 5464879"/>
              <a:gd name="connsiteY6" fmla="*/ 6276841 h 6276841"/>
              <a:gd name="connsiteX7" fmla="*/ 1883227 w 5464879"/>
              <a:gd name="connsiteY7" fmla="*/ 6276841 h 6276841"/>
              <a:gd name="connsiteX8" fmla="*/ 1726987 w 5464879"/>
              <a:gd name="connsiteY8" fmla="*/ 6201577 h 6276841"/>
              <a:gd name="connsiteX9" fmla="*/ 0 w 5464879"/>
              <a:gd name="connsiteY9" fmla="*/ 3299930 h 6276841"/>
              <a:gd name="connsiteX10" fmla="*/ 3299930 w 5464879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64879" h="6276841">
                <a:moveTo>
                  <a:pt x="3299930" y="0"/>
                </a:moveTo>
                <a:cubicBezTo>
                  <a:pt x="4097274" y="0"/>
                  <a:pt x="4828569" y="282789"/>
                  <a:pt x="5398992" y="753544"/>
                </a:cubicBezTo>
                <a:lnTo>
                  <a:pt x="5464879" y="813426"/>
                </a:lnTo>
                <a:lnTo>
                  <a:pt x="5464879" y="5786434"/>
                </a:lnTo>
                <a:lnTo>
                  <a:pt x="5398992" y="5846317"/>
                </a:lnTo>
                <a:cubicBezTo>
                  <a:pt x="5236014" y="5980818"/>
                  <a:pt x="5059904" y="6099975"/>
                  <a:pt x="4872873" y="6201577"/>
                </a:cubicBezTo>
                <a:lnTo>
                  <a:pt x="4716632" y="6276841"/>
                </a:lnTo>
                <a:lnTo>
                  <a:pt x="1883227" y="6276841"/>
                </a:lnTo>
                <a:lnTo>
                  <a:pt x="1726987" y="6201577"/>
                </a:lnTo>
                <a:cubicBezTo>
                  <a:pt x="698316" y="5642769"/>
                  <a:pt x="0" y="4552900"/>
                  <a:pt x="0" y="3299930"/>
                </a:cubicBezTo>
                <a:cubicBezTo>
                  <a:pt x="0" y="1477429"/>
                  <a:pt x="1477429" y="0"/>
                  <a:pt x="3299930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24E7C73B-3B3E-466D-B321-FF0BF1FA87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86696" y="2473378"/>
            <a:ext cx="4639477" cy="1246202"/>
          </a:xfrm>
          <a:prstGeom prst="rect">
            <a:avLst/>
          </a:prstGeom>
        </p:spPr>
      </p:pic>
      <p:pic>
        <p:nvPicPr>
          <p:cNvPr id="6146" name="Picture 2">
            <a:extLst>
              <a:ext uri="{FF2B5EF4-FFF2-40B4-BE49-F238E27FC236}">
                <a16:creationId xmlns:a16="http://schemas.microsoft.com/office/drawing/2014/main" id="{B78771A6-9064-7B45-84CD-AD8510FE7F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6" t="31111" r="14485" b="32299"/>
          <a:stretch/>
        </p:blipFill>
        <p:spPr bwMode="auto">
          <a:xfrm>
            <a:off x="9869149" y="3803134"/>
            <a:ext cx="1768839" cy="929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Image result for epsrc logo">
            <a:extLst>
              <a:ext uri="{FF2B5EF4-FFF2-40B4-BE49-F238E27FC236}">
                <a16:creationId xmlns:a16="http://schemas.microsoft.com/office/drawing/2014/main" id="{B922408E-AD91-4243-A83B-DD3094A013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6606" y="3892704"/>
            <a:ext cx="1768839" cy="1034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2F2A005C-CD69-4885-809C-0E9B2FB3952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09788" y="5100599"/>
            <a:ext cx="1246202" cy="1246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2789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8320791" cy="1325563"/>
          </a:xfrm>
        </p:spPr>
        <p:txBody>
          <a:bodyPr/>
          <a:lstStyle/>
          <a:p>
            <a:r>
              <a:rPr lang="en-US" sz="4000" dirty="0">
                <a:latin typeface="Trebuchet MS" panose="020B0703020202090204" pitchFamily="34" charset="0"/>
              </a:rPr>
              <a:t>Data generation set-up</a:t>
            </a:r>
            <a:endParaRPr lang="en-US" dirty="0">
              <a:latin typeface="Trebuchet MS" panose="020B0703020202090204" pitchFamily="34" charset="0"/>
              <a:cs typeface="Calibri Ligh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8">
                <a:extLst>
                  <a:ext uri="{FF2B5EF4-FFF2-40B4-BE49-F238E27FC236}">
                    <a16:creationId xmlns:a16="http://schemas.microsoft.com/office/drawing/2014/main" id="{F5E7AF60-05A5-E846-8FE2-463486EF3220}"/>
                  </a:ext>
                </a:extLst>
              </p:cNvPr>
              <p:cNvSpPr txBox="1"/>
              <p:nvPr/>
            </p:nvSpPr>
            <p:spPr>
              <a:xfrm>
                <a:off x="1144284" y="2049015"/>
                <a:ext cx="5515127" cy="43062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400" dirty="0">
                    <a:latin typeface="Trebuchet MS" panose="020B0703020202090204" pitchFamily="34" charset="0"/>
                  </a:rPr>
                  <a:t>NetEm to emulate network settings</a:t>
                </a:r>
              </a:p>
              <a:p>
                <a:endParaRPr lang="en-US" sz="2400" dirty="0">
                  <a:latin typeface="Trebuchet MS" panose="020B0703020202090204" pitchFamily="34" charset="0"/>
                </a:endParaRPr>
              </a:p>
              <a:p>
                <a:r>
                  <a:rPr lang="en-US" sz="2400" dirty="0">
                    <a:latin typeface="Trebuchet MS" panose="020B0703020202090204" pitchFamily="34" charset="0"/>
                  </a:rPr>
                  <a:t>Chaff:</a:t>
                </a:r>
              </a:p>
              <a:p>
                <a:pPr marL="800100" lvl="1" indent="-342900">
                  <a:buFont typeface="Arial" panose="020B0604020202020204" pitchFamily="34" charset="0"/>
                  <a:buChar char="•"/>
                </a:pPr>
                <a:r>
                  <a:rPr lang="en-US" dirty="0" err="1">
                    <a:latin typeface="Trebuchet MS" panose="020B0703020202090204" pitchFamily="34" charset="0"/>
                  </a:rPr>
                  <a:t>Netcat</a:t>
                </a:r>
                <a:endParaRPr lang="en-US" dirty="0">
                  <a:latin typeface="Trebuchet MS" panose="020B0703020202090204" pitchFamily="34" charset="0"/>
                </a:endParaRPr>
              </a:p>
              <a:p>
                <a:pPr marL="800100" lvl="1" indent="-342900">
                  <a:buFont typeface="Arial" panose="020B0604020202020204" pitchFamily="34" charset="0"/>
                  <a:buChar char="•"/>
                </a:pPr>
                <a:r>
                  <a:rPr lang="en-US" dirty="0">
                    <a:latin typeface="Trebuchet MS" panose="020B0703020202090204" pitchFamily="34" charset="0"/>
                  </a:rPr>
                  <a:t>mimics stream buffering</a:t>
                </a:r>
                <a:r>
                  <a:rPr lang="en-US" baseline="30000" dirty="0">
                    <a:latin typeface="Trebuchet MS" panose="020B0703020202090204" pitchFamily="34" charset="0"/>
                  </a:rPr>
                  <a:t>1</a:t>
                </a:r>
              </a:p>
              <a:p>
                <a:pPr marL="1257300" lvl="2" indent="-342900">
                  <a:buFont typeface="Arial" panose="020B0604020202020204" pitchFamily="34" charset="0"/>
                  <a:buChar char="•"/>
                </a:pPr>
                <a:r>
                  <a:rPr lang="en-US" dirty="0">
                    <a:latin typeface="Trebuchet MS" panose="020B0703020202090204" pitchFamily="34" charset="0"/>
                  </a:rPr>
                  <a:t>Packet IAT in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[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𝑑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de-DE" b="0" i="0" smtClean="0">
                                <a:latin typeface="Cambria Math" panose="02040503050406030204" pitchFamily="18" charset="0"/>
                              </a:rPr>
                              <m:t>C</m:t>
                            </m:r>
                          </m:sub>
                        </m:sSub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de-DE" b="0" i="0" smtClean="0">
                            <a:latin typeface="Cambria Math" panose="02040503050406030204" pitchFamily="18" charset="0"/>
                          </a:rPr>
                          <m:t>C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endParaRPr lang="en-US" dirty="0">
                  <a:latin typeface="Trebuchet MS" panose="020B0703020202090204" pitchFamily="34" charset="0"/>
                </a:endParaRPr>
              </a:p>
              <a:p>
                <a:endParaRPr lang="en-US" sz="2400" dirty="0">
                  <a:latin typeface="Trebuchet MS" panose="020B0703020202090204" pitchFamily="34" charset="0"/>
                </a:endParaRPr>
              </a:p>
              <a:p>
                <a:r>
                  <a:rPr lang="en-US" sz="2400" dirty="0">
                    <a:latin typeface="Trebuchet MS" panose="020B0703020202090204" pitchFamily="34" charset="0"/>
                  </a:rPr>
                  <a:t>Jitter delays:</a:t>
                </a:r>
              </a:p>
              <a:p>
                <a:pPr marL="800100" lvl="1" indent="-342900">
                  <a:buFont typeface="Arial" panose="020B0604020202020204" pitchFamily="34" charset="0"/>
                  <a:buChar char="•"/>
                </a:pPr>
                <a:r>
                  <a:rPr lang="en-US" dirty="0" err="1">
                    <a:latin typeface="Trebuchet MS" panose="020B0703020202090204" pitchFamily="34" charset="0"/>
                  </a:rPr>
                  <a:t>NetEm</a:t>
                </a:r>
                <a:endParaRPr lang="en-US" dirty="0">
                  <a:latin typeface="Trebuchet MS" panose="020B0703020202090204" pitchFamily="34" charset="0"/>
                </a:endParaRPr>
              </a:p>
              <a:p>
                <a:pPr marL="800100" lvl="1" indent="-342900">
                  <a:buFont typeface="Arial" panose="020B0604020202020204" pitchFamily="34" charset="0"/>
                  <a:buChar char="•"/>
                </a:pPr>
                <a:r>
                  <a:rPr lang="en-US" dirty="0">
                    <a:latin typeface="Trebuchet MS" panose="020B0703020202090204" pitchFamily="34" charset="0"/>
                  </a:rPr>
                  <a:t>mimics stream buffering</a:t>
                </a:r>
                <a:r>
                  <a:rPr lang="en-US" baseline="30000" dirty="0">
                    <a:latin typeface="Trebuchet MS" panose="020B0703020202090204" pitchFamily="34" charset="0"/>
                  </a:rPr>
                  <a:t>1</a:t>
                </a:r>
              </a:p>
              <a:p>
                <a:pPr marL="800100" lvl="1" indent="-34290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GB" b="0" i="0" smtClean="0">
                        <a:latin typeface="Cambria Math" panose="02040503050406030204" pitchFamily="18" charset="0"/>
                      </a:rPr>
                      <m:t>Δ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𝑡</m:t>
                    </m:r>
                  </m:oMath>
                </a14:m>
                <a:r>
                  <a:rPr lang="en-US" dirty="0">
                    <a:latin typeface="Trebuchet MS" panose="020B0703020202090204" pitchFamily="34" charset="0"/>
                  </a:rPr>
                  <a:t> in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[0,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de-DE" b="0" i="0" smtClean="0">
                            <a:latin typeface="Cambria Math" panose="02040503050406030204" pitchFamily="18" charset="0"/>
                          </a:rPr>
                          <m:t>D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endParaRPr lang="en-US" dirty="0">
                  <a:latin typeface="Trebuchet MS" panose="020B0703020202090204" pitchFamily="34" charset="0"/>
                </a:endParaRPr>
              </a:p>
              <a:p>
                <a:pPr marL="1257300" lvl="2" indent="-34290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de-DE" b="0" i="0" smtClean="0">
                            <a:latin typeface="Cambria Math" panose="02040503050406030204" pitchFamily="18" charset="0"/>
                          </a:rPr>
                          <m:t>D</m:t>
                        </m:r>
                      </m:sub>
                    </m:sSub>
                  </m:oMath>
                </a14:m>
                <a:r>
                  <a:rPr lang="en-US" dirty="0">
                    <a:latin typeface="Trebuchet MS" panose="020B0703020202090204" pitchFamily="34" charset="0"/>
                  </a:rPr>
                  <a:t> up to 1500ms</a:t>
                </a:r>
              </a:p>
              <a:p>
                <a:pPr marL="800100" lvl="1" indent="-342900">
                  <a:buFont typeface="Arial" panose="020B0604020202020204" pitchFamily="34" charset="0"/>
                  <a:buChar char="•"/>
                </a:pPr>
                <a:endParaRPr lang="en-US" sz="2000" dirty="0">
                  <a:latin typeface="Trebuchet MS" panose="020B0703020202090204" pitchFamily="34" charset="0"/>
                </a:endParaRPr>
              </a:p>
            </p:txBody>
          </p:sp>
        </mc:Choice>
        <mc:Fallback xmlns="">
          <p:sp>
            <p:nvSpPr>
              <p:cNvPr id="5" name="TextBox 8">
                <a:extLst>
                  <a:ext uri="{FF2B5EF4-FFF2-40B4-BE49-F238E27FC236}">
                    <a16:creationId xmlns:a16="http://schemas.microsoft.com/office/drawing/2014/main" id="{F5E7AF60-05A5-E846-8FE2-463486EF32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44284" y="2049015"/>
                <a:ext cx="5515127" cy="4306243"/>
              </a:xfrm>
              <a:prstGeom prst="rect">
                <a:avLst/>
              </a:prstGeom>
              <a:blipFill>
                <a:blip r:embed="rId4"/>
                <a:stretch>
                  <a:fillRect l="-1770" t="-113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36A558D7-BBF3-3842-A595-122FBA174F4D}"/>
              </a:ext>
            </a:extLst>
          </p:cNvPr>
          <p:cNvGrpSpPr/>
          <p:nvPr/>
        </p:nvGrpSpPr>
        <p:grpSpPr>
          <a:xfrm>
            <a:off x="11093982" y="-14990"/>
            <a:ext cx="1097280" cy="1054387"/>
            <a:chOff x="11093982" y="-14990"/>
            <a:chExt cx="1097280" cy="1054387"/>
          </a:xfrm>
        </p:grpSpPr>
        <p:sp>
          <p:nvSpPr>
            <p:cNvPr id="90" name="NavigationTriangle">
              <a:extLst>
                <a:ext uri="{FF2B5EF4-FFF2-40B4-BE49-F238E27FC236}">
                  <a16:creationId xmlns:a16="http://schemas.microsoft.com/office/drawing/2014/main" id="{75CC37CB-0FDB-9C4D-B950-F045669F9AB9}"/>
                </a:ext>
              </a:extLst>
            </p:cNvPr>
            <p:cNvSpPr/>
            <p:nvPr/>
          </p:nvSpPr>
          <p:spPr>
            <a:xfrm rot="16200000">
              <a:off x="11115428" y="-36436"/>
              <a:ext cx="1054387" cy="1097280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91" name="NavigationIcon">
              <a:extLst>
                <a:ext uri="{FF2B5EF4-FFF2-40B4-BE49-F238E27FC236}">
                  <a16:creationId xmlns:a16="http://schemas.microsoft.com/office/drawing/2014/main" id="{248BB64A-2681-154D-A068-C8F7AB78918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1698236" y="122285"/>
              <a:ext cx="365760" cy="365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/>
                <a:t>2</a:t>
              </a:r>
            </a:p>
          </p:txBody>
        </p:sp>
      </p:grpSp>
      <p:pic>
        <p:nvPicPr>
          <p:cNvPr id="16" name="Grafik 15">
            <a:extLst>
              <a:ext uri="{FF2B5EF4-FFF2-40B4-BE49-F238E27FC236}">
                <a16:creationId xmlns:a16="http://schemas.microsoft.com/office/drawing/2014/main" id="{8E2EC459-AABA-4249-8152-514D5201A2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5116" y="3242331"/>
            <a:ext cx="6096000" cy="2104275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19FAC423-B37F-4A39-80E7-FC6B194988EB}"/>
              </a:ext>
            </a:extLst>
          </p:cNvPr>
          <p:cNvSpPr txBox="1"/>
          <p:nvPr/>
        </p:nvSpPr>
        <p:spPr>
          <a:xfrm>
            <a:off x="1144284" y="6492875"/>
            <a:ext cx="19251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aseline="30000" dirty="0"/>
              <a:t>1</a:t>
            </a:r>
            <a:r>
              <a:rPr lang="de-DE" sz="1400" dirty="0"/>
              <a:t> </a:t>
            </a:r>
            <a:r>
              <a:rPr lang="de-DE" sz="1400" dirty="0" err="1"/>
              <a:t>Padhye</a:t>
            </a:r>
            <a:r>
              <a:rPr lang="de-DE" sz="1400" dirty="0"/>
              <a:t> et al. (2010)</a:t>
            </a:r>
            <a:endParaRPr lang="de-DE" sz="1400" baseline="30000" dirty="0"/>
          </a:p>
        </p:txBody>
      </p:sp>
    </p:spTree>
    <p:extLst>
      <p:ext uri="{BB962C8B-B14F-4D97-AF65-F5344CB8AC3E}">
        <p14:creationId xmlns:p14="http://schemas.microsoft.com/office/powerpoint/2010/main" val="14535392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8320791" cy="1325563"/>
          </a:xfrm>
        </p:spPr>
        <p:txBody>
          <a:bodyPr/>
          <a:lstStyle/>
          <a:p>
            <a:r>
              <a:rPr lang="en-US" sz="4000" dirty="0">
                <a:latin typeface="Trebuchet MS" panose="020B0703020202090204" pitchFamily="34" charset="0"/>
              </a:rPr>
              <a:t>Evaluation data</a:t>
            </a:r>
            <a:endParaRPr lang="en-US" dirty="0">
              <a:latin typeface="Trebuchet MS" panose="020B0703020202090204" pitchFamily="34" charset="0"/>
              <a:cs typeface="Calibri Light"/>
            </a:endParaRPr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36A558D7-BBF3-3842-A595-122FBA174F4D}"/>
              </a:ext>
            </a:extLst>
          </p:cNvPr>
          <p:cNvGrpSpPr/>
          <p:nvPr/>
        </p:nvGrpSpPr>
        <p:grpSpPr>
          <a:xfrm>
            <a:off x="11093982" y="-14990"/>
            <a:ext cx="1097280" cy="1054387"/>
            <a:chOff x="11093982" y="-14990"/>
            <a:chExt cx="1097280" cy="1054387"/>
          </a:xfrm>
        </p:grpSpPr>
        <p:sp>
          <p:nvSpPr>
            <p:cNvPr id="90" name="NavigationTriangle">
              <a:extLst>
                <a:ext uri="{FF2B5EF4-FFF2-40B4-BE49-F238E27FC236}">
                  <a16:creationId xmlns:a16="http://schemas.microsoft.com/office/drawing/2014/main" id="{75CC37CB-0FDB-9C4D-B950-F045669F9AB9}"/>
                </a:ext>
              </a:extLst>
            </p:cNvPr>
            <p:cNvSpPr/>
            <p:nvPr/>
          </p:nvSpPr>
          <p:spPr>
            <a:xfrm rot="16200000">
              <a:off x="11115428" y="-36436"/>
              <a:ext cx="1054387" cy="1097280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91" name="NavigationIcon">
              <a:extLst>
                <a:ext uri="{FF2B5EF4-FFF2-40B4-BE49-F238E27FC236}">
                  <a16:creationId xmlns:a16="http://schemas.microsoft.com/office/drawing/2014/main" id="{248BB64A-2681-154D-A068-C8F7AB78918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1698236" y="122285"/>
              <a:ext cx="365760" cy="365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/>
                <a:t>2</a:t>
              </a:r>
            </a:p>
          </p:txBody>
        </p:sp>
      </p:grp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3" name="Tabelle 3">
                <a:extLst>
                  <a:ext uri="{FF2B5EF4-FFF2-40B4-BE49-F238E27FC236}">
                    <a16:creationId xmlns:a16="http://schemas.microsoft.com/office/drawing/2014/main" id="{0069CFAF-3BC9-498F-8343-54788BE01500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220268537"/>
                  </p:ext>
                </p:extLst>
              </p:nvPr>
            </p:nvGraphicFramePr>
            <p:xfrm>
              <a:off x="1728484" y="2963310"/>
              <a:ext cx="7524749" cy="259588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1609725">
                      <a:extLst>
                        <a:ext uri="{9D8B030D-6E8A-4147-A177-3AD203B41FA5}">
                          <a16:colId xmlns:a16="http://schemas.microsoft.com/office/drawing/2014/main" val="3344780549"/>
                        </a:ext>
                      </a:extLst>
                    </a:gridCol>
                    <a:gridCol w="1019175">
                      <a:extLst>
                        <a:ext uri="{9D8B030D-6E8A-4147-A177-3AD203B41FA5}">
                          <a16:colId xmlns:a16="http://schemas.microsoft.com/office/drawing/2014/main" val="458142013"/>
                        </a:ext>
                      </a:extLst>
                    </a:gridCol>
                    <a:gridCol w="1232446">
                      <a:extLst>
                        <a:ext uri="{9D8B030D-6E8A-4147-A177-3AD203B41FA5}">
                          <a16:colId xmlns:a16="http://schemas.microsoft.com/office/drawing/2014/main" val="2827315632"/>
                        </a:ext>
                      </a:extLst>
                    </a:gridCol>
                    <a:gridCol w="3663403">
                      <a:extLst>
                        <a:ext uri="{9D8B030D-6E8A-4147-A177-3AD203B41FA5}">
                          <a16:colId xmlns:a16="http://schemas.microsoft.com/office/drawing/2014/main" val="1280676858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Label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#conn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purpose</a:t>
                          </a:r>
                          <a:endParaRPr lang="de-DE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819304717"/>
                      </a:ext>
                    </a:extLst>
                  </a:tr>
                  <a:tr h="370840">
                    <a:tc rowSpan="3">
                      <a:txBody>
                        <a:bodyPr/>
                        <a:lstStyle/>
                        <a:p>
                          <a:pPr algn="ctr"/>
                          <a:endParaRPr lang="de-DE" dirty="0"/>
                        </a:p>
                        <a:p>
                          <a:pPr algn="ctr"/>
                          <a:r>
                            <a:rPr lang="de-DE" dirty="0"/>
                            <a:t>SS </a:t>
                          </a:r>
                          <a:r>
                            <a:rPr lang="de-DE" dirty="0" err="1"/>
                            <a:t>data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BA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30,000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Baseline </a:t>
                          </a:r>
                          <a:r>
                            <a:rPr lang="de-DE" dirty="0" err="1"/>
                            <a:t>attack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741451465"/>
                      </a:ext>
                    </a:extLst>
                  </a:tr>
                  <a:tr h="370840">
                    <a:tc vMerge="1"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DA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30,000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Delays </a:t>
                          </a:r>
                          <a:r>
                            <a:rPr lang="de-DE" dirty="0" err="1"/>
                            <a:t>with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varying</a:t>
                          </a:r>
                          <a:r>
                            <a:rPr lang="de-DE" dirty="0"/>
                            <a:t> 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de-DE" b="0" i="0" smtClean="0">
                                      <a:latin typeface="Cambria Math" panose="02040503050406030204" pitchFamily="18" charset="0"/>
                                    </a:rPr>
                                    <m:t>D</m:t>
                                  </m:r>
                                </m:sub>
                              </m:sSub>
                            </m:oMath>
                          </a14:m>
                          <a:endParaRPr lang="de-DE" dirty="0"/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236196434"/>
                      </a:ext>
                    </a:extLst>
                  </a:tr>
                  <a:tr h="370840">
                    <a:tc vMerge="1"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CA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30,000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Chaff </a:t>
                          </a:r>
                          <a:r>
                            <a:rPr lang="de-DE" dirty="0" err="1"/>
                            <a:t>with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varying</a:t>
                          </a:r>
                          <a:r>
                            <a:rPr lang="de-DE" dirty="0"/>
                            <a:t> 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de-DE" b="0" i="0" smtClean="0">
                                      <a:latin typeface="Cambria Math" panose="02040503050406030204" pitchFamily="18" charset="0"/>
                                    </a:rPr>
                                    <m:t>C</m:t>
                                  </m:r>
                                </m:sub>
                              </m:sSub>
                            </m:oMath>
                          </a14:m>
                          <a:endParaRPr lang="de-DE" dirty="0"/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525216204"/>
                      </a:ext>
                    </a:extLst>
                  </a:tr>
                  <a:tr h="370840">
                    <a:tc rowSpan="3">
                      <a:txBody>
                        <a:bodyPr/>
                        <a:lstStyle/>
                        <a:p>
                          <a:pPr algn="ctr"/>
                          <a:endParaRPr lang="de-DE" dirty="0"/>
                        </a:p>
                        <a:p>
                          <a:pPr algn="ctr"/>
                          <a:r>
                            <a:rPr lang="de-DE" dirty="0"/>
                            <a:t>Background </a:t>
                          </a:r>
                          <a:r>
                            <a:rPr lang="de-DE" dirty="0" err="1"/>
                            <a:t>data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CAIDA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60.000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General </a:t>
                          </a:r>
                          <a:r>
                            <a:rPr lang="de-DE" dirty="0" err="1"/>
                            <a:t>background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598850813"/>
                      </a:ext>
                    </a:extLst>
                  </a:tr>
                  <a:tr h="370840">
                    <a:tc vMerge="1">
                      <a:txBody>
                        <a:bodyPr/>
                        <a:lstStyle/>
                        <a:p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SSH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20.000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Similar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to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attack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commands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24078905"/>
                      </a:ext>
                    </a:extLst>
                  </a:tr>
                  <a:tr h="370840">
                    <a:tc vMerge="1">
                      <a:txBody>
                        <a:bodyPr/>
                        <a:lstStyle/>
                        <a:p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Multim</a:t>
                          </a:r>
                          <a:r>
                            <a:rPr lang="de-DE" dirty="0"/>
                            <a:t>.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20.000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Similar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to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chaff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pert</a:t>
                          </a:r>
                          <a:r>
                            <a:rPr lang="de-DE" dirty="0"/>
                            <a:t>.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611260349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3" name="Tabelle 3">
                <a:extLst>
                  <a:ext uri="{FF2B5EF4-FFF2-40B4-BE49-F238E27FC236}">
                    <a16:creationId xmlns:a16="http://schemas.microsoft.com/office/drawing/2014/main" id="{0069CFAF-3BC9-498F-8343-54788BE01500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220268537"/>
                  </p:ext>
                </p:extLst>
              </p:nvPr>
            </p:nvGraphicFramePr>
            <p:xfrm>
              <a:off x="1728484" y="2963310"/>
              <a:ext cx="7524749" cy="259588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1609725">
                      <a:extLst>
                        <a:ext uri="{9D8B030D-6E8A-4147-A177-3AD203B41FA5}">
                          <a16:colId xmlns:a16="http://schemas.microsoft.com/office/drawing/2014/main" val="3344780549"/>
                        </a:ext>
                      </a:extLst>
                    </a:gridCol>
                    <a:gridCol w="1019175">
                      <a:extLst>
                        <a:ext uri="{9D8B030D-6E8A-4147-A177-3AD203B41FA5}">
                          <a16:colId xmlns:a16="http://schemas.microsoft.com/office/drawing/2014/main" val="458142013"/>
                        </a:ext>
                      </a:extLst>
                    </a:gridCol>
                    <a:gridCol w="1232446">
                      <a:extLst>
                        <a:ext uri="{9D8B030D-6E8A-4147-A177-3AD203B41FA5}">
                          <a16:colId xmlns:a16="http://schemas.microsoft.com/office/drawing/2014/main" val="2827315632"/>
                        </a:ext>
                      </a:extLst>
                    </a:gridCol>
                    <a:gridCol w="3663403">
                      <a:extLst>
                        <a:ext uri="{9D8B030D-6E8A-4147-A177-3AD203B41FA5}">
                          <a16:colId xmlns:a16="http://schemas.microsoft.com/office/drawing/2014/main" val="1280676858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Label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#conn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purpose</a:t>
                          </a:r>
                          <a:endParaRPr lang="de-DE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819304717"/>
                      </a:ext>
                    </a:extLst>
                  </a:tr>
                  <a:tr h="370840">
                    <a:tc rowSpan="3">
                      <a:txBody>
                        <a:bodyPr/>
                        <a:lstStyle/>
                        <a:p>
                          <a:pPr algn="ctr"/>
                          <a:endParaRPr lang="de-DE" dirty="0"/>
                        </a:p>
                        <a:p>
                          <a:pPr algn="ctr"/>
                          <a:r>
                            <a:rPr lang="de-DE" dirty="0"/>
                            <a:t>SS </a:t>
                          </a:r>
                          <a:r>
                            <a:rPr lang="de-DE" dirty="0" err="1"/>
                            <a:t>data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BA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30,000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Baseline </a:t>
                          </a:r>
                          <a:r>
                            <a:rPr lang="de-DE" dirty="0" err="1"/>
                            <a:t>attack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741451465"/>
                      </a:ext>
                    </a:extLst>
                  </a:tr>
                  <a:tr h="370840">
                    <a:tc vMerge="1"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DA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30,000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>
                        <a:blipFill>
                          <a:blip r:embed="rId4"/>
                          <a:stretch>
                            <a:fillRect l="-105657" t="-209836" r="-499" b="-421311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4236196434"/>
                      </a:ext>
                    </a:extLst>
                  </a:tr>
                  <a:tr h="370840">
                    <a:tc vMerge="1"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CA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30,000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>
                        <a:blipFill>
                          <a:blip r:embed="rId4"/>
                          <a:stretch>
                            <a:fillRect l="-105657" t="-315000" r="-499" b="-328333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525216204"/>
                      </a:ext>
                    </a:extLst>
                  </a:tr>
                  <a:tr h="370840">
                    <a:tc rowSpan="3">
                      <a:txBody>
                        <a:bodyPr/>
                        <a:lstStyle/>
                        <a:p>
                          <a:pPr algn="ctr"/>
                          <a:endParaRPr lang="de-DE" dirty="0"/>
                        </a:p>
                        <a:p>
                          <a:pPr algn="ctr"/>
                          <a:r>
                            <a:rPr lang="de-DE" dirty="0"/>
                            <a:t>Background </a:t>
                          </a:r>
                          <a:r>
                            <a:rPr lang="de-DE" dirty="0" err="1"/>
                            <a:t>data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CAIDA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60.000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General </a:t>
                          </a:r>
                          <a:r>
                            <a:rPr lang="de-DE" dirty="0" err="1"/>
                            <a:t>background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598850813"/>
                      </a:ext>
                    </a:extLst>
                  </a:tr>
                  <a:tr h="370840">
                    <a:tc vMerge="1">
                      <a:txBody>
                        <a:bodyPr/>
                        <a:lstStyle/>
                        <a:p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SSH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20.000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Similar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to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attack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commands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24078905"/>
                      </a:ext>
                    </a:extLst>
                  </a:tr>
                  <a:tr h="370840">
                    <a:tc vMerge="1">
                      <a:txBody>
                        <a:bodyPr/>
                        <a:lstStyle/>
                        <a:p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Multim</a:t>
                          </a:r>
                          <a:r>
                            <a:rPr lang="de-DE" dirty="0"/>
                            <a:t>.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20.000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Similar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to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chaff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pert</a:t>
                          </a:r>
                          <a:r>
                            <a:rPr lang="de-DE" dirty="0"/>
                            <a:t>.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611260349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8">
                <a:extLst>
                  <a:ext uri="{FF2B5EF4-FFF2-40B4-BE49-F238E27FC236}">
                    <a16:creationId xmlns:a16="http://schemas.microsoft.com/office/drawing/2014/main" id="{AE29407D-669B-48C2-BCE9-8F873489AED0}"/>
                  </a:ext>
                </a:extLst>
              </p:cNvPr>
              <p:cNvSpPr txBox="1"/>
              <p:nvPr/>
            </p:nvSpPr>
            <p:spPr>
              <a:xfrm>
                <a:off x="1378288" y="1690688"/>
                <a:ext cx="5515127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400" dirty="0">
                    <a:latin typeface="Trebuchet MS" panose="020B0703020202090204" pitchFamily="34" charset="0"/>
                  </a:rPr>
                  <a:t>Connection pairs fr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de-DE" sz="2400" b="0" i="0" smtClean="0">
                            <a:latin typeface="Cambria Math" panose="02040503050406030204" pitchFamily="18" charset="0"/>
                          </a:rPr>
                          <m:t>S</m:t>
                        </m:r>
                      </m:e>
                      <m:sub>
                        <m:r>
                          <a:rPr lang="de-DE" sz="2400" b="0" i="1" smtClean="0">
                            <a:latin typeface="Cambria Math" panose="02040503050406030204" pitchFamily="18" charset="0"/>
                          </a:rPr>
                          <m:t>𝑁</m:t>
                        </m:r>
                      </m:sub>
                    </m:sSub>
                  </m:oMath>
                </a14:m>
                <a:endParaRPr lang="en-US" sz="2400" dirty="0">
                  <a:latin typeface="Trebuchet MS" panose="020B0703020202090204" pitchFamily="34" charset="0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US" sz="2400" dirty="0">
                    <a:latin typeface="Trebuchet MS" panose="020B0703020202090204" pitchFamily="34" charset="0"/>
                  </a:rPr>
                  <a:t>1,400 packets</a:t>
                </a:r>
              </a:p>
            </p:txBody>
          </p:sp>
        </mc:Choice>
        <mc:Fallback xmlns="">
          <p:sp>
            <p:nvSpPr>
              <p:cNvPr id="4" name="TextBox 8">
                <a:extLst>
                  <a:ext uri="{FF2B5EF4-FFF2-40B4-BE49-F238E27FC236}">
                    <a16:creationId xmlns:a16="http://schemas.microsoft.com/office/drawing/2014/main" id="{AE29407D-669B-48C2-BCE9-8F873489AED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78288" y="1690688"/>
                <a:ext cx="5515127" cy="830997"/>
              </a:xfrm>
              <a:prstGeom prst="rect">
                <a:avLst/>
              </a:prstGeom>
              <a:blipFill>
                <a:blip r:embed="rId5"/>
                <a:stretch>
                  <a:fillRect l="-1657" t="-5839" b="-153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134839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8320791" cy="1325563"/>
          </a:xfrm>
        </p:spPr>
        <p:txBody>
          <a:bodyPr/>
          <a:lstStyle/>
          <a:p>
            <a:r>
              <a:rPr lang="en-US" sz="4000" dirty="0">
                <a:latin typeface="Trebuchet MS" panose="020B0703020202090204" pitchFamily="34" charset="0"/>
              </a:rPr>
              <a:t>Selected methods</a:t>
            </a:r>
            <a:endParaRPr lang="en-US" dirty="0">
              <a:latin typeface="Trebuchet MS" panose="020B0703020202090204" pitchFamily="34" charset="0"/>
              <a:cs typeface="Calibri Light"/>
            </a:endParaRPr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36A558D7-BBF3-3842-A595-122FBA174F4D}"/>
              </a:ext>
            </a:extLst>
          </p:cNvPr>
          <p:cNvGrpSpPr/>
          <p:nvPr/>
        </p:nvGrpSpPr>
        <p:grpSpPr>
          <a:xfrm>
            <a:off x="11093982" y="-14990"/>
            <a:ext cx="1097280" cy="1054387"/>
            <a:chOff x="11093982" y="-14990"/>
            <a:chExt cx="1097280" cy="1054387"/>
          </a:xfrm>
        </p:grpSpPr>
        <p:sp>
          <p:nvSpPr>
            <p:cNvPr id="90" name="NavigationTriangle">
              <a:extLst>
                <a:ext uri="{FF2B5EF4-FFF2-40B4-BE49-F238E27FC236}">
                  <a16:creationId xmlns:a16="http://schemas.microsoft.com/office/drawing/2014/main" id="{75CC37CB-0FDB-9C4D-B950-F045669F9AB9}"/>
                </a:ext>
              </a:extLst>
            </p:cNvPr>
            <p:cNvSpPr/>
            <p:nvPr/>
          </p:nvSpPr>
          <p:spPr>
            <a:xfrm rot="16200000">
              <a:off x="11115428" y="-36436"/>
              <a:ext cx="1054387" cy="1097280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91" name="NavigationIcon">
              <a:extLst>
                <a:ext uri="{FF2B5EF4-FFF2-40B4-BE49-F238E27FC236}">
                  <a16:creationId xmlns:a16="http://schemas.microsoft.com/office/drawing/2014/main" id="{248BB64A-2681-154D-A068-C8F7AB78918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1698236" y="122285"/>
              <a:ext cx="365760" cy="365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/>
                <a:t>3</a:t>
              </a:r>
            </a:p>
          </p:txBody>
        </p:sp>
      </p:grp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EE96A1DA-2E76-4661-9E06-32935163F9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1239164"/>
              </p:ext>
            </p:extLst>
          </p:nvPr>
        </p:nvGraphicFramePr>
        <p:xfrm>
          <a:off x="1512325" y="2019601"/>
          <a:ext cx="9167350" cy="3337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60150">
                  <a:extLst>
                    <a:ext uri="{9D8B030D-6E8A-4147-A177-3AD203B41FA5}">
                      <a16:colId xmlns:a16="http://schemas.microsoft.com/office/drawing/2014/main" val="3935087184"/>
                    </a:ext>
                  </a:extLst>
                </a:gridCol>
                <a:gridCol w="1222039">
                  <a:extLst>
                    <a:ext uri="{9D8B030D-6E8A-4147-A177-3AD203B41FA5}">
                      <a16:colId xmlns:a16="http://schemas.microsoft.com/office/drawing/2014/main" val="550553488"/>
                    </a:ext>
                  </a:extLst>
                </a:gridCol>
                <a:gridCol w="1317961">
                  <a:extLst>
                    <a:ext uri="{9D8B030D-6E8A-4147-A177-3AD203B41FA5}">
                      <a16:colId xmlns:a16="http://schemas.microsoft.com/office/drawing/2014/main" val="990786236"/>
                    </a:ext>
                  </a:extLst>
                </a:gridCol>
                <a:gridCol w="1756228">
                  <a:extLst>
                    <a:ext uri="{9D8B030D-6E8A-4147-A177-3AD203B41FA5}">
                      <a16:colId xmlns:a16="http://schemas.microsoft.com/office/drawing/2014/main" val="872277345"/>
                    </a:ext>
                  </a:extLst>
                </a:gridCol>
                <a:gridCol w="2510972">
                  <a:extLst>
                    <a:ext uri="{9D8B030D-6E8A-4147-A177-3AD203B41FA5}">
                      <a16:colId xmlns:a16="http://schemas.microsoft.com/office/drawing/2014/main" val="4639849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Lab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F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Robustnes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ategory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261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PContext</a:t>
                      </a:r>
                      <a:r>
                        <a:rPr lang="de-DE" dirty="0"/>
                        <a:t> (2011)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0%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%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jitter</a:t>
                      </a:r>
                      <a:r>
                        <a:rPr lang="de-DE" dirty="0"/>
                        <a:t>/</a:t>
                      </a:r>
                      <a:r>
                        <a:rPr lang="de-DE" dirty="0" err="1"/>
                        <a:t>chaff</a:t>
                      </a:r>
                      <a:endParaRPr lang="de-DE" dirty="0"/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Packet </a:t>
                      </a:r>
                      <a:r>
                        <a:rPr lang="de-DE" dirty="0" err="1"/>
                        <a:t>correlation</a:t>
                      </a:r>
                      <a:endParaRPr lang="de-DE" dirty="0"/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5737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e-DE" dirty="0" err="1"/>
                        <a:t>DeepCorr</a:t>
                      </a:r>
                      <a:r>
                        <a:rPr lang="de-DE" dirty="0"/>
                        <a:t> (2018)</a:t>
                      </a: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0%</a:t>
                      </a: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.0002%</a:t>
                      </a: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small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jitter</a:t>
                      </a:r>
                      <a:endParaRPr lang="de-DE" dirty="0"/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  <a:p>
                      <a:pPr algn="ctr"/>
                      <a:r>
                        <a:rPr lang="de-DE" dirty="0" err="1"/>
                        <a:t>Neural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networks</a:t>
                      </a:r>
                      <a:endParaRPr lang="de-DE" dirty="0"/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4936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e-DE" dirty="0" err="1"/>
                        <a:t>WuNeur</a:t>
                      </a:r>
                      <a:r>
                        <a:rPr lang="de-DE" dirty="0"/>
                        <a:t> (2010)</a:t>
                      </a: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0%</a:t>
                      </a: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%</a:t>
                      </a: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-</a:t>
                      </a: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50426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e-DE" dirty="0" err="1"/>
                        <a:t>Rwalk</a:t>
                      </a:r>
                      <a:r>
                        <a:rPr lang="de-DE" dirty="0"/>
                        <a:t> (2015)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-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-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haff</a:t>
                      </a:r>
                      <a:endParaRPr lang="de-DE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de-DE" sz="1200" dirty="0"/>
                    </a:p>
                    <a:p>
                      <a:pPr algn="ctr"/>
                      <a:r>
                        <a:rPr lang="de-DE" dirty="0"/>
                        <a:t>RTT-</a:t>
                      </a:r>
                      <a:r>
                        <a:rPr lang="de-DE" dirty="0" err="1"/>
                        <a:t>based</a:t>
                      </a:r>
                      <a:endParaRPr lang="de-DE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95904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e-DE" dirty="0"/>
                        <a:t>Crossover (2016)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85%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%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-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31802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e-DE" dirty="0"/>
                        <a:t>Ano1 (2011)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9%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%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jitter</a:t>
                      </a:r>
                      <a:r>
                        <a:rPr lang="de-DE" dirty="0"/>
                        <a:t>/</a:t>
                      </a:r>
                      <a:r>
                        <a:rPr lang="de-DE" dirty="0" err="1"/>
                        <a:t>chaff</a:t>
                      </a:r>
                      <a:endParaRPr lang="de-DE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de-DE" sz="1200" dirty="0"/>
                    </a:p>
                    <a:p>
                      <a:pPr algn="ctr"/>
                      <a:r>
                        <a:rPr lang="de-DE" dirty="0" err="1"/>
                        <a:t>Anomaly-based</a:t>
                      </a:r>
                      <a:endParaRPr lang="de-DE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14213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e-DE" dirty="0"/>
                        <a:t>Ano2 (2011)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5%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%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jitter</a:t>
                      </a:r>
                      <a:r>
                        <a:rPr lang="de-DE" dirty="0"/>
                        <a:t>/</a:t>
                      </a:r>
                      <a:r>
                        <a:rPr lang="de-DE" dirty="0" err="1"/>
                        <a:t>chaff</a:t>
                      </a:r>
                      <a:endParaRPr lang="de-DE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22447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e-DE" dirty="0"/>
                        <a:t>WM (2011)</a:t>
                      </a: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0%</a:t>
                      </a: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.5%</a:t>
                      </a: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jitter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Watermarking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69577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46182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5753A435-E9DE-41FE-B5D9-FDE6519198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911" y="379379"/>
            <a:ext cx="10901069" cy="6047210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ABA1FCCE-FF4F-42A1-BF7C-D0CF21D943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8004" y="379379"/>
            <a:ext cx="11693710" cy="6093905"/>
          </a:xfrm>
          <a:prstGeom prst="rect">
            <a:avLst/>
          </a:prstGeom>
        </p:spPr>
      </p:pic>
      <p:pic>
        <p:nvPicPr>
          <p:cNvPr id="4" name="Picture 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11B48ECD-A2EE-471A-8867-A3ECCF7B5F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01309" y="5916050"/>
            <a:ext cx="2636575" cy="707993"/>
          </a:xfrm>
          <a:prstGeom prst="rect">
            <a:avLst/>
          </a:prstGeom>
        </p:spPr>
      </p:pic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36A558D7-BBF3-3842-A595-122FBA174F4D}"/>
              </a:ext>
            </a:extLst>
          </p:cNvPr>
          <p:cNvGrpSpPr/>
          <p:nvPr/>
        </p:nvGrpSpPr>
        <p:grpSpPr>
          <a:xfrm>
            <a:off x="11093982" y="-14990"/>
            <a:ext cx="1097280" cy="1054387"/>
            <a:chOff x="11093982" y="-14990"/>
            <a:chExt cx="1097280" cy="1054387"/>
          </a:xfrm>
        </p:grpSpPr>
        <p:sp>
          <p:nvSpPr>
            <p:cNvPr id="90" name="NavigationTriangle">
              <a:extLst>
                <a:ext uri="{FF2B5EF4-FFF2-40B4-BE49-F238E27FC236}">
                  <a16:creationId xmlns:a16="http://schemas.microsoft.com/office/drawing/2014/main" id="{75CC37CB-0FDB-9C4D-B950-F045669F9AB9}"/>
                </a:ext>
              </a:extLst>
            </p:cNvPr>
            <p:cNvSpPr/>
            <p:nvPr/>
          </p:nvSpPr>
          <p:spPr>
            <a:xfrm rot="16200000">
              <a:off x="11115428" y="-36436"/>
              <a:ext cx="1054387" cy="1097280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91" name="NavigationIcon">
              <a:extLst>
                <a:ext uri="{FF2B5EF4-FFF2-40B4-BE49-F238E27FC236}">
                  <a16:creationId xmlns:a16="http://schemas.microsoft.com/office/drawing/2014/main" id="{248BB64A-2681-154D-A068-C8F7AB78918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1698236" y="122285"/>
              <a:ext cx="365760" cy="365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/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334477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9F543340-BC9A-48CB-9605-7A019D8893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145" y="384813"/>
            <a:ext cx="10884221" cy="5885234"/>
          </a:xfrm>
          <a:prstGeom prst="rect">
            <a:avLst/>
          </a:prstGeom>
        </p:spPr>
      </p:pic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36A558D7-BBF3-3842-A595-122FBA174F4D}"/>
              </a:ext>
            </a:extLst>
          </p:cNvPr>
          <p:cNvGrpSpPr/>
          <p:nvPr/>
        </p:nvGrpSpPr>
        <p:grpSpPr>
          <a:xfrm>
            <a:off x="11093982" y="-14990"/>
            <a:ext cx="1097280" cy="1054387"/>
            <a:chOff x="11093982" y="-14990"/>
            <a:chExt cx="1097280" cy="1054387"/>
          </a:xfrm>
        </p:grpSpPr>
        <p:sp>
          <p:nvSpPr>
            <p:cNvPr id="90" name="NavigationTriangle">
              <a:extLst>
                <a:ext uri="{FF2B5EF4-FFF2-40B4-BE49-F238E27FC236}">
                  <a16:creationId xmlns:a16="http://schemas.microsoft.com/office/drawing/2014/main" id="{75CC37CB-0FDB-9C4D-B950-F045669F9AB9}"/>
                </a:ext>
              </a:extLst>
            </p:cNvPr>
            <p:cNvSpPr/>
            <p:nvPr/>
          </p:nvSpPr>
          <p:spPr>
            <a:xfrm rot="16200000">
              <a:off x="11115428" y="-36436"/>
              <a:ext cx="1054387" cy="1097280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91" name="NavigationIcon">
              <a:extLst>
                <a:ext uri="{FF2B5EF4-FFF2-40B4-BE49-F238E27FC236}">
                  <a16:creationId xmlns:a16="http://schemas.microsoft.com/office/drawing/2014/main" id="{248BB64A-2681-154D-A068-C8F7AB78918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1698236" y="122285"/>
              <a:ext cx="365760" cy="365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/>
                <a:t>3</a:t>
              </a:r>
            </a:p>
          </p:txBody>
        </p:sp>
      </p:grpSp>
      <p:pic>
        <p:nvPicPr>
          <p:cNvPr id="5" name="Picture 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D7089D8B-2991-4566-977D-F227C7DB819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01309" y="5916050"/>
            <a:ext cx="2636575" cy="707993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CDE1E067-87B7-422B-BA81-41028EBFB97E}"/>
              </a:ext>
            </a:extLst>
          </p:cNvPr>
          <p:cNvSpPr txBox="1"/>
          <p:nvPr/>
        </p:nvSpPr>
        <p:spPr>
          <a:xfrm>
            <a:off x="5615752" y="413997"/>
            <a:ext cx="14526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FP-rate: 0.4%</a:t>
            </a:r>
          </a:p>
        </p:txBody>
      </p:sp>
    </p:spTree>
    <p:extLst>
      <p:ext uri="{BB962C8B-B14F-4D97-AF65-F5344CB8AC3E}">
        <p14:creationId xmlns:p14="http://schemas.microsoft.com/office/powerpoint/2010/main" val="26982663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36A558D7-BBF3-3842-A595-122FBA174F4D}"/>
              </a:ext>
            </a:extLst>
          </p:cNvPr>
          <p:cNvGrpSpPr/>
          <p:nvPr/>
        </p:nvGrpSpPr>
        <p:grpSpPr>
          <a:xfrm>
            <a:off x="11093982" y="-14990"/>
            <a:ext cx="1097280" cy="1054387"/>
            <a:chOff x="11093982" y="-14990"/>
            <a:chExt cx="1097280" cy="1054387"/>
          </a:xfrm>
        </p:grpSpPr>
        <p:sp>
          <p:nvSpPr>
            <p:cNvPr id="90" name="NavigationTriangle">
              <a:extLst>
                <a:ext uri="{FF2B5EF4-FFF2-40B4-BE49-F238E27FC236}">
                  <a16:creationId xmlns:a16="http://schemas.microsoft.com/office/drawing/2014/main" id="{75CC37CB-0FDB-9C4D-B950-F045669F9AB9}"/>
                </a:ext>
              </a:extLst>
            </p:cNvPr>
            <p:cNvSpPr/>
            <p:nvPr/>
          </p:nvSpPr>
          <p:spPr>
            <a:xfrm rot="16200000">
              <a:off x="11115428" y="-36436"/>
              <a:ext cx="1054387" cy="1097280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91" name="NavigationIcon">
              <a:extLst>
                <a:ext uri="{FF2B5EF4-FFF2-40B4-BE49-F238E27FC236}">
                  <a16:creationId xmlns:a16="http://schemas.microsoft.com/office/drawing/2014/main" id="{248BB64A-2681-154D-A068-C8F7AB78918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1698236" y="122285"/>
              <a:ext cx="365760" cy="365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/>
                <a:t>3</a:t>
              </a:r>
            </a:p>
          </p:txBody>
        </p: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D0F19A5A-8FDC-4CB4-B0FF-9D9FF2186347}"/>
              </a:ext>
            </a:extLst>
          </p:cNvPr>
          <p:cNvSpPr txBox="1"/>
          <p:nvPr/>
        </p:nvSpPr>
        <p:spPr>
          <a:xfrm>
            <a:off x="2295728" y="5955161"/>
            <a:ext cx="53166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Disproves</a:t>
            </a:r>
            <a:r>
              <a:rPr lang="de-DE" dirty="0"/>
              <a:t> </a:t>
            </a:r>
            <a:r>
              <a:rPr lang="de-DE" dirty="0" err="1"/>
              <a:t>chaff</a:t>
            </a:r>
            <a:r>
              <a:rPr lang="de-DE" dirty="0"/>
              <a:t> </a:t>
            </a:r>
            <a:r>
              <a:rPr lang="de-DE" dirty="0" err="1"/>
              <a:t>robustness</a:t>
            </a:r>
            <a:r>
              <a:rPr lang="de-DE" dirty="0"/>
              <a:t> </a:t>
            </a:r>
            <a:r>
              <a:rPr lang="de-DE" dirty="0" err="1"/>
              <a:t>claims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PCorr</a:t>
            </a:r>
            <a:r>
              <a:rPr lang="de-DE" dirty="0"/>
              <a:t>, RTT1, and </a:t>
            </a:r>
            <a:r>
              <a:rPr lang="de-DE" dirty="0" err="1"/>
              <a:t>both</a:t>
            </a:r>
            <a:r>
              <a:rPr lang="de-DE" dirty="0"/>
              <a:t> </a:t>
            </a:r>
            <a:r>
              <a:rPr lang="de-DE" dirty="0" err="1"/>
              <a:t>anomaly</a:t>
            </a:r>
            <a:r>
              <a:rPr lang="de-DE" dirty="0"/>
              <a:t> </a:t>
            </a:r>
            <a:r>
              <a:rPr lang="de-DE" dirty="0" err="1"/>
              <a:t>methods</a:t>
            </a:r>
            <a:r>
              <a:rPr lang="de-DE" dirty="0"/>
              <a:t>!</a:t>
            </a:r>
          </a:p>
        </p:txBody>
      </p:sp>
      <p:pic>
        <p:nvPicPr>
          <p:cNvPr id="7" name="Picture 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FBD7910-B4DA-4E35-8AE7-A2A3D847A3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1309" y="5916050"/>
            <a:ext cx="2636575" cy="707993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8D175D3E-7629-4D45-AE85-7C26A56CF3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9461" y="305165"/>
            <a:ext cx="10313077" cy="5564514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5CD0F71F-C725-4C54-8396-8F57E42220BC}"/>
              </a:ext>
            </a:extLst>
          </p:cNvPr>
          <p:cNvSpPr txBox="1"/>
          <p:nvPr/>
        </p:nvSpPr>
        <p:spPr>
          <a:xfrm>
            <a:off x="5858943" y="305165"/>
            <a:ext cx="16081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FP-rate: 0.4%</a:t>
            </a:r>
          </a:p>
        </p:txBody>
      </p:sp>
    </p:spTree>
    <p:extLst>
      <p:ext uri="{BB962C8B-B14F-4D97-AF65-F5344CB8AC3E}">
        <p14:creationId xmlns:p14="http://schemas.microsoft.com/office/powerpoint/2010/main" val="17714771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0647AE-3CD4-E943-AE87-01BA2E4FC8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imitations</a:t>
            </a:r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073BE5C-F288-E443-B2D0-BE70DC9D948E}"/>
              </a:ext>
            </a:extLst>
          </p:cNvPr>
          <p:cNvGrpSpPr/>
          <p:nvPr/>
        </p:nvGrpSpPr>
        <p:grpSpPr>
          <a:xfrm>
            <a:off x="11093982" y="-14990"/>
            <a:ext cx="1097280" cy="1054387"/>
            <a:chOff x="11093982" y="-14990"/>
            <a:chExt cx="1097280" cy="1054387"/>
          </a:xfrm>
        </p:grpSpPr>
        <p:sp>
          <p:nvSpPr>
            <p:cNvPr id="9" name="NavigationTriangle">
              <a:extLst>
                <a:ext uri="{FF2B5EF4-FFF2-40B4-BE49-F238E27FC236}">
                  <a16:creationId xmlns:a16="http://schemas.microsoft.com/office/drawing/2014/main" id="{F945F89B-52D9-FD41-9215-D4214EF3BF04}"/>
                </a:ext>
              </a:extLst>
            </p:cNvPr>
            <p:cNvSpPr/>
            <p:nvPr/>
          </p:nvSpPr>
          <p:spPr>
            <a:xfrm rot="16200000">
              <a:off x="11115428" y="-36436"/>
              <a:ext cx="1054387" cy="1097280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0" name="NavigationIcon">
              <a:extLst>
                <a:ext uri="{FF2B5EF4-FFF2-40B4-BE49-F238E27FC236}">
                  <a16:creationId xmlns:a16="http://schemas.microsoft.com/office/drawing/2014/main" id="{CACAB44C-0A72-BA4B-8D13-BEC5784077C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1698236" y="122285"/>
              <a:ext cx="365760" cy="365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/>
                <a:t>4</a:t>
              </a:r>
            </a:p>
          </p:txBody>
        </p:sp>
      </p:grpSp>
      <p:sp>
        <p:nvSpPr>
          <p:cNvPr id="3" name="TextBox 8">
            <a:extLst>
              <a:ext uri="{FF2B5EF4-FFF2-40B4-BE49-F238E27FC236}">
                <a16:creationId xmlns:a16="http://schemas.microsoft.com/office/drawing/2014/main" id="{04039836-B366-45C8-834D-D8F2A4357311}"/>
              </a:ext>
            </a:extLst>
          </p:cNvPr>
          <p:cNvSpPr txBox="1"/>
          <p:nvPr/>
        </p:nvSpPr>
        <p:spPr>
          <a:xfrm>
            <a:off x="1386840" y="2385127"/>
            <a:ext cx="551512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Trebuchet MS" panose="020B0703020202090204" pitchFamily="34" charset="0"/>
              </a:rPr>
              <a:t>No </a:t>
            </a:r>
            <a:r>
              <a:rPr lang="en-US" sz="2000" dirty="0" err="1">
                <a:latin typeface="Trebuchet MS" panose="020B0703020202090204" pitchFamily="34" charset="0"/>
              </a:rPr>
              <a:t>behavioural</a:t>
            </a:r>
            <a:r>
              <a:rPr lang="en-US" sz="2000" dirty="0">
                <a:latin typeface="Trebuchet MS" panose="020B0703020202090204" pitchFamily="34" charset="0"/>
              </a:rPr>
              <a:t>/graph-based mode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Trebuchet MS" panose="020B0703020202090204" pitchFamily="34" charset="0"/>
              </a:rPr>
              <a:t>No store-forward-stepping stones</a:t>
            </a:r>
          </a:p>
          <a:p>
            <a:endParaRPr lang="en-US" sz="20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Trebuchet MS" panose="020B0703020202090204" pitchFamily="34" charset="0"/>
            </a:endParaRPr>
          </a:p>
        </p:txBody>
      </p:sp>
      <p:sp>
        <p:nvSpPr>
          <p:cNvPr id="7" name="TextBox 8">
            <a:extLst>
              <a:ext uri="{FF2B5EF4-FFF2-40B4-BE49-F238E27FC236}">
                <a16:creationId xmlns:a16="http://schemas.microsoft.com/office/drawing/2014/main" id="{51A5FFDF-F9CE-45BD-8237-6D92C932E0EA}"/>
              </a:ext>
            </a:extLst>
          </p:cNvPr>
          <p:cNvSpPr txBox="1"/>
          <p:nvPr/>
        </p:nvSpPr>
        <p:spPr>
          <a:xfrm>
            <a:off x="6748386" y="2385127"/>
            <a:ext cx="391125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Trebuchet MS" panose="020B0703020202090204" pitchFamily="34" charset="0"/>
              </a:rPr>
              <a:t>No flow-split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Trebuchet MS" panose="020B0703020202090204" pitchFamily="34" charset="0"/>
              </a:rPr>
              <a:t>Data might need updates for future method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Trebuchet MS" panose="020B0703020202090204" pitchFamily="34" charset="0"/>
            </a:endParaRP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F6ABEB66-98A1-4B2C-BD8D-ADA00D6B395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38200" y="1758063"/>
            <a:ext cx="10255781" cy="3580826"/>
          </a:xfrm>
          <a:prstGeom prst="rect">
            <a:avLst/>
          </a:prstGeom>
          <a:grpFill/>
          <a:ln w="28575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1605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0647AE-3CD4-E943-AE87-01BA2E4FC8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68DA8C38-8324-104E-9E41-2F2F62997DD6}"/>
              </a:ext>
            </a:extLst>
          </p:cNvPr>
          <p:cNvSpPr txBox="1">
            <a:spLocks/>
          </p:cNvSpPr>
          <p:nvPr/>
        </p:nvSpPr>
        <p:spPr>
          <a:xfrm>
            <a:off x="1656348" y="1867737"/>
            <a:ext cx="7571874" cy="46251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dirty="0"/>
              <a:t>Large </a:t>
            </a:r>
            <a:r>
              <a:rPr lang="de-DE" sz="2400" dirty="0" err="1"/>
              <a:t>public</a:t>
            </a:r>
            <a:r>
              <a:rPr lang="de-DE" sz="2400" dirty="0"/>
              <a:t> </a:t>
            </a:r>
            <a:r>
              <a:rPr lang="de-DE" sz="2400" dirty="0" err="1"/>
              <a:t>dataset</a:t>
            </a:r>
            <a:endParaRPr lang="de-DE" sz="2400" dirty="0"/>
          </a:p>
          <a:p>
            <a:pPr lvl="1">
              <a:lnSpc>
                <a:spcPct val="150000"/>
              </a:lnSpc>
            </a:pPr>
            <a:r>
              <a:rPr lang="de-DE" sz="2000" dirty="0" err="1"/>
              <a:t>Realistic</a:t>
            </a:r>
            <a:r>
              <a:rPr lang="de-DE" sz="2000" dirty="0"/>
              <a:t> </a:t>
            </a:r>
            <a:r>
              <a:rPr lang="de-DE" sz="2000" dirty="0" err="1"/>
              <a:t>interactions</a:t>
            </a:r>
            <a:endParaRPr lang="de-DE" sz="2000" dirty="0"/>
          </a:p>
          <a:p>
            <a:pPr lvl="1">
              <a:lnSpc>
                <a:spcPct val="150000"/>
              </a:lnSpc>
            </a:pPr>
            <a:r>
              <a:rPr lang="de-DE" sz="2000" dirty="0"/>
              <a:t>Evasive </a:t>
            </a:r>
            <a:r>
              <a:rPr lang="de-DE" sz="2000" dirty="0" err="1"/>
              <a:t>tactics</a:t>
            </a:r>
            <a:endParaRPr lang="de-DE" sz="2000" dirty="0"/>
          </a:p>
          <a:p>
            <a:pPr lvl="1">
              <a:lnSpc>
                <a:spcPct val="150000"/>
              </a:lnSpc>
            </a:pPr>
            <a:r>
              <a:rPr lang="de-DE" sz="2000" dirty="0"/>
              <a:t>github.com/</a:t>
            </a:r>
            <a:r>
              <a:rPr lang="de-DE" sz="2000" dirty="0" err="1"/>
              <a:t>detlearsom</a:t>
            </a:r>
            <a:r>
              <a:rPr lang="de-DE" sz="2000" dirty="0"/>
              <a:t>/</a:t>
            </a:r>
            <a:r>
              <a:rPr lang="de-DE" sz="2000" dirty="0" err="1"/>
              <a:t>detgen</a:t>
            </a:r>
            <a:r>
              <a:rPr lang="de-DE" sz="2000" dirty="0"/>
              <a:t>/</a:t>
            </a:r>
            <a:r>
              <a:rPr lang="de-DE" sz="2000" dirty="0" err="1"/>
              <a:t>stepping-stone-data</a:t>
            </a:r>
            <a:endParaRPr lang="de-DE" sz="2000" dirty="0"/>
          </a:p>
          <a:p>
            <a:endParaRPr lang="de-DE" sz="2400" dirty="0"/>
          </a:p>
          <a:p>
            <a:r>
              <a:rPr lang="de-DE" sz="2400" dirty="0"/>
              <a:t>Evaluation </a:t>
            </a:r>
            <a:r>
              <a:rPr lang="de-DE" sz="2400" dirty="0" err="1"/>
              <a:t>of</a:t>
            </a:r>
            <a:r>
              <a:rPr lang="de-DE" sz="2400" dirty="0"/>
              <a:t> </a:t>
            </a:r>
            <a:r>
              <a:rPr lang="de-DE" sz="2400" dirty="0" err="1"/>
              <a:t>current</a:t>
            </a:r>
            <a:r>
              <a:rPr lang="de-DE" sz="2400" dirty="0"/>
              <a:t> </a:t>
            </a:r>
            <a:r>
              <a:rPr lang="de-DE" sz="2400" dirty="0" err="1"/>
              <a:t>state</a:t>
            </a:r>
            <a:r>
              <a:rPr lang="de-DE" sz="2400" dirty="0"/>
              <a:t>-</a:t>
            </a:r>
            <a:r>
              <a:rPr lang="de-DE" sz="2400" dirty="0" err="1"/>
              <a:t>of</a:t>
            </a:r>
            <a:r>
              <a:rPr lang="de-DE" sz="2400" dirty="0"/>
              <a:t>-</a:t>
            </a:r>
            <a:r>
              <a:rPr lang="de-DE" sz="2400" dirty="0" err="1"/>
              <a:t>the</a:t>
            </a:r>
            <a:r>
              <a:rPr lang="de-DE" sz="2400" dirty="0"/>
              <a:t>-art</a:t>
            </a:r>
          </a:p>
          <a:p>
            <a:pPr lvl="1">
              <a:lnSpc>
                <a:spcPct val="150000"/>
              </a:lnSpc>
            </a:pPr>
            <a:r>
              <a:rPr lang="de-DE" sz="2000" dirty="0"/>
              <a:t>Lower </a:t>
            </a:r>
            <a:r>
              <a:rPr lang="de-DE" sz="2000" dirty="0" err="1"/>
              <a:t>overall</a:t>
            </a:r>
            <a:r>
              <a:rPr lang="de-DE" sz="2000" dirty="0"/>
              <a:t> </a:t>
            </a:r>
            <a:r>
              <a:rPr lang="de-DE" sz="2000" dirty="0" err="1"/>
              <a:t>detection</a:t>
            </a:r>
            <a:r>
              <a:rPr lang="de-DE" sz="2000" dirty="0"/>
              <a:t> </a:t>
            </a:r>
            <a:r>
              <a:rPr lang="de-DE" sz="2000" dirty="0" err="1"/>
              <a:t>rates</a:t>
            </a:r>
            <a:endParaRPr lang="de-DE" sz="2000" dirty="0"/>
          </a:p>
          <a:p>
            <a:pPr lvl="1">
              <a:lnSpc>
                <a:spcPct val="150000"/>
              </a:lnSpc>
            </a:pPr>
            <a:r>
              <a:rPr lang="de-DE" sz="2000" dirty="0"/>
              <a:t>Lack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robustness</a:t>
            </a:r>
            <a:r>
              <a:rPr lang="de-DE" sz="2000" dirty="0"/>
              <a:t> </a:t>
            </a:r>
            <a:r>
              <a:rPr lang="de-DE" sz="2000" dirty="0" err="1"/>
              <a:t>against</a:t>
            </a:r>
            <a:r>
              <a:rPr lang="de-DE" sz="2000" dirty="0"/>
              <a:t> </a:t>
            </a:r>
            <a:r>
              <a:rPr lang="de-DE" sz="2000" dirty="0" err="1"/>
              <a:t>chaff</a:t>
            </a:r>
            <a:endParaRPr lang="de-DE" sz="2000" dirty="0"/>
          </a:p>
          <a:p>
            <a:pPr lvl="1">
              <a:lnSpc>
                <a:spcPct val="150000"/>
              </a:lnSpc>
            </a:pPr>
            <a:r>
              <a:rPr lang="de-DE" sz="2000" dirty="0" err="1"/>
              <a:t>Watermarking</a:t>
            </a:r>
            <a:r>
              <a:rPr lang="de-DE" sz="2000" dirty="0"/>
              <a:t> and </a:t>
            </a:r>
            <a:r>
              <a:rPr lang="de-DE" sz="2000" dirty="0" err="1"/>
              <a:t>deep-learning</a:t>
            </a:r>
            <a:r>
              <a:rPr lang="de-DE" sz="2000" dirty="0"/>
              <a:t> </a:t>
            </a:r>
            <a:r>
              <a:rPr lang="de-DE" sz="2000" dirty="0" err="1"/>
              <a:t>performs</a:t>
            </a:r>
            <a:r>
              <a:rPr lang="de-DE" sz="2000" dirty="0"/>
              <a:t> </a:t>
            </a:r>
            <a:r>
              <a:rPr lang="de-DE" sz="2000" dirty="0" err="1"/>
              <a:t>best</a:t>
            </a:r>
            <a:endParaRPr lang="de-DE" sz="2000" dirty="0"/>
          </a:p>
          <a:p>
            <a:pPr lvl="1"/>
            <a:endParaRPr lang="de-DE" sz="2000" dirty="0"/>
          </a:p>
          <a:p>
            <a:pPr lvl="1"/>
            <a:endParaRPr lang="de-DE" sz="1800" dirty="0"/>
          </a:p>
          <a:p>
            <a:pPr lvl="1"/>
            <a:endParaRPr lang="de-DE" sz="2000" dirty="0"/>
          </a:p>
          <a:p>
            <a:pPr lvl="1"/>
            <a:endParaRPr lang="de-DE" sz="2000" dirty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B5A644E-9D3D-3A4F-BD32-7F205B30CBB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397610" y="1666623"/>
            <a:ext cx="7722327" cy="4826252"/>
          </a:xfrm>
          <a:prstGeom prst="rect">
            <a:avLst/>
          </a:prstGeom>
          <a:grpFill/>
          <a:ln w="28575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073BE5C-F288-E443-B2D0-BE70DC9D948E}"/>
              </a:ext>
            </a:extLst>
          </p:cNvPr>
          <p:cNvGrpSpPr/>
          <p:nvPr/>
        </p:nvGrpSpPr>
        <p:grpSpPr>
          <a:xfrm>
            <a:off x="11093982" y="-14990"/>
            <a:ext cx="1097280" cy="1054387"/>
            <a:chOff x="11093982" y="-14990"/>
            <a:chExt cx="1097280" cy="1054387"/>
          </a:xfrm>
        </p:grpSpPr>
        <p:sp>
          <p:nvSpPr>
            <p:cNvPr id="9" name="NavigationTriangle">
              <a:extLst>
                <a:ext uri="{FF2B5EF4-FFF2-40B4-BE49-F238E27FC236}">
                  <a16:creationId xmlns:a16="http://schemas.microsoft.com/office/drawing/2014/main" id="{F945F89B-52D9-FD41-9215-D4214EF3BF04}"/>
                </a:ext>
              </a:extLst>
            </p:cNvPr>
            <p:cNvSpPr/>
            <p:nvPr/>
          </p:nvSpPr>
          <p:spPr>
            <a:xfrm rot="16200000">
              <a:off x="11115428" y="-36436"/>
              <a:ext cx="1054387" cy="1097280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0" name="NavigationIcon">
              <a:extLst>
                <a:ext uri="{FF2B5EF4-FFF2-40B4-BE49-F238E27FC236}">
                  <a16:creationId xmlns:a16="http://schemas.microsoft.com/office/drawing/2014/main" id="{CACAB44C-0A72-BA4B-8D13-BEC5784077C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1698236" y="122285"/>
              <a:ext cx="365760" cy="365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/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54197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36A558D7-BBF3-3842-A595-122FBA174F4D}"/>
              </a:ext>
            </a:extLst>
          </p:cNvPr>
          <p:cNvGrpSpPr/>
          <p:nvPr/>
        </p:nvGrpSpPr>
        <p:grpSpPr>
          <a:xfrm>
            <a:off x="11093982" y="-14990"/>
            <a:ext cx="1097280" cy="1054387"/>
            <a:chOff x="11093982" y="-14990"/>
            <a:chExt cx="1097280" cy="1054387"/>
          </a:xfrm>
        </p:grpSpPr>
        <p:sp>
          <p:nvSpPr>
            <p:cNvPr id="90" name="NavigationTriangle">
              <a:extLst>
                <a:ext uri="{FF2B5EF4-FFF2-40B4-BE49-F238E27FC236}">
                  <a16:creationId xmlns:a16="http://schemas.microsoft.com/office/drawing/2014/main" id="{75CC37CB-0FDB-9C4D-B950-F045669F9AB9}"/>
                </a:ext>
              </a:extLst>
            </p:cNvPr>
            <p:cNvSpPr/>
            <p:nvPr/>
          </p:nvSpPr>
          <p:spPr>
            <a:xfrm rot="16200000">
              <a:off x="11115428" y="-36436"/>
              <a:ext cx="1054387" cy="1097280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91" name="NavigationIcon">
              <a:extLst>
                <a:ext uri="{FF2B5EF4-FFF2-40B4-BE49-F238E27FC236}">
                  <a16:creationId xmlns:a16="http://schemas.microsoft.com/office/drawing/2014/main" id="{248BB64A-2681-154D-A068-C8F7AB78918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1698236" y="122285"/>
              <a:ext cx="365760" cy="365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/>
                <a:t>3</a:t>
              </a:r>
            </a:p>
          </p:txBody>
        </p:sp>
      </p:grpSp>
      <p:pic>
        <p:nvPicPr>
          <p:cNvPr id="6" name="Grafik 5">
            <a:extLst>
              <a:ext uri="{FF2B5EF4-FFF2-40B4-BE49-F238E27FC236}">
                <a16:creationId xmlns:a16="http://schemas.microsoft.com/office/drawing/2014/main" id="{B5DB60B3-0D91-4D2D-9A98-EBFA4A1E95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898073"/>
            <a:ext cx="6436468" cy="4152941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ACBEF4E-FC14-4918-B7E8-8461D24A2B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8320791" cy="1325563"/>
          </a:xfrm>
        </p:spPr>
        <p:txBody>
          <a:bodyPr/>
          <a:lstStyle/>
          <a:p>
            <a:r>
              <a:rPr lang="en-US" sz="4000" dirty="0">
                <a:latin typeface="Trebuchet MS" panose="020B0703020202090204" pitchFamily="34" charset="0"/>
              </a:rPr>
              <a:t>Additional results</a:t>
            </a:r>
            <a:endParaRPr lang="en-US" dirty="0">
              <a:latin typeface="Trebuchet MS" panose="020B0703020202090204" pitchFamily="34" charset="0"/>
              <a:cs typeface="Calibri Light"/>
            </a:endParaRPr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034AB3E0-B97C-4DEF-845B-2DF5DDBEAE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653380"/>
              </p:ext>
            </p:extLst>
          </p:nvPr>
        </p:nvGraphicFramePr>
        <p:xfrm>
          <a:off x="6722375" y="2892503"/>
          <a:ext cx="5341621" cy="2164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13460">
                  <a:extLst>
                    <a:ext uri="{9D8B030D-6E8A-4147-A177-3AD203B41FA5}">
                      <a16:colId xmlns:a16="http://schemas.microsoft.com/office/drawing/2014/main" val="964643261"/>
                    </a:ext>
                  </a:extLst>
                </a:gridCol>
                <a:gridCol w="739140">
                  <a:extLst>
                    <a:ext uri="{9D8B030D-6E8A-4147-A177-3AD203B41FA5}">
                      <a16:colId xmlns:a16="http://schemas.microsoft.com/office/drawing/2014/main" val="547430134"/>
                    </a:ext>
                  </a:extLst>
                </a:gridCol>
                <a:gridCol w="636173">
                  <a:extLst>
                    <a:ext uri="{9D8B030D-6E8A-4147-A177-3AD203B41FA5}">
                      <a16:colId xmlns:a16="http://schemas.microsoft.com/office/drawing/2014/main" val="1654286380"/>
                    </a:ext>
                  </a:extLst>
                </a:gridCol>
                <a:gridCol w="738212">
                  <a:extLst>
                    <a:ext uri="{9D8B030D-6E8A-4147-A177-3AD203B41FA5}">
                      <a16:colId xmlns:a16="http://schemas.microsoft.com/office/drawing/2014/main" val="2675154744"/>
                    </a:ext>
                  </a:extLst>
                </a:gridCol>
                <a:gridCol w="738212">
                  <a:extLst>
                    <a:ext uri="{9D8B030D-6E8A-4147-A177-3AD203B41FA5}">
                      <a16:colId xmlns:a16="http://schemas.microsoft.com/office/drawing/2014/main" val="1276746822"/>
                    </a:ext>
                  </a:extLst>
                </a:gridCol>
                <a:gridCol w="738212">
                  <a:extLst>
                    <a:ext uri="{9D8B030D-6E8A-4147-A177-3AD203B41FA5}">
                      <a16:colId xmlns:a16="http://schemas.microsoft.com/office/drawing/2014/main" val="2455544031"/>
                    </a:ext>
                  </a:extLst>
                </a:gridCol>
                <a:gridCol w="738212">
                  <a:extLst>
                    <a:ext uri="{9D8B030D-6E8A-4147-A177-3AD203B41FA5}">
                      <a16:colId xmlns:a16="http://schemas.microsoft.com/office/drawing/2014/main" val="42214239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alue</a:t>
                      </a:r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Deviation </a:t>
                      </a:r>
                      <a:r>
                        <a:rPr lang="de-DE" dirty="0" err="1"/>
                        <a:t>from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average</a:t>
                      </a:r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598783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err="1"/>
                        <a:t>DeepCor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/>
                        <a:t>WuNeu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/>
                        <a:t>RWalk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/>
                        <a:t>COv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WM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7853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r>
                        <a:rPr lang="de-DE" sz="1400" dirty="0"/>
                        <a:t>RT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5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-0.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+41.3%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-42.3%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-36%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+0.0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513338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70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-5.6%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-5.8%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+35.1%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+51%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-2.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0413858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r>
                        <a:rPr lang="de-DE" sz="1400" dirty="0"/>
                        <a:t>Packet </a:t>
                      </a:r>
                      <a:r>
                        <a:rPr lang="de-DE" sz="1400" dirty="0" err="1"/>
                        <a:t>loss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+1.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+1.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+2.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+4.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+0.0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944395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-9.1%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-1.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-3.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-7.3%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-9.7%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7875143"/>
                  </a:ext>
                </a:extLst>
              </a:tr>
            </a:tbl>
          </a:graphicData>
        </a:graphic>
      </p:graphicFrame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6C6DBFF9-2797-4055-9B4D-782A061A6647}"/>
              </a:ext>
            </a:extLst>
          </p:cNvPr>
          <p:cNvCxnSpPr/>
          <p:nvPr/>
        </p:nvCxnSpPr>
        <p:spPr>
          <a:xfrm>
            <a:off x="6509038" y="0"/>
            <a:ext cx="0" cy="685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:a16="http://schemas.microsoft.com/office/drawing/2014/main" id="{4A3FC9AA-F234-43D3-9B07-5DF7B13B6A69}"/>
              </a:ext>
            </a:extLst>
          </p:cNvPr>
          <p:cNvSpPr txBox="1">
            <a:spLocks/>
          </p:cNvSpPr>
          <p:nvPr/>
        </p:nvSpPr>
        <p:spPr>
          <a:xfrm>
            <a:off x="8153268" y="1915273"/>
            <a:ext cx="2734366" cy="7526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Trebuchet MS" panose="020B0703020202090204" pitchFamily="34" charset="0"/>
              </a:rPr>
              <a:t>WAN-influence</a:t>
            </a:r>
            <a:endParaRPr lang="en-US" sz="3200" dirty="0">
              <a:latin typeface="Trebuchet MS" panose="020B0703020202090204" pitchFamily="34" charset="0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42744552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rebuchet MS" panose="020B0703020202090204" pitchFamily="34" charset="0"/>
                <a:cs typeface="Calibri Light"/>
              </a:rPr>
              <a:t>Models</a:t>
            </a:r>
          </a:p>
        </p:txBody>
      </p:sp>
      <p:pic>
        <p:nvPicPr>
          <p:cNvPr id="3" name="Picture 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EE4D087-DB70-48EF-8583-F531882D7F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1309" y="5916050"/>
            <a:ext cx="2636575" cy="707993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606698E-A2D3-B84C-8022-3908BAD1CDC4}"/>
              </a:ext>
            </a:extLst>
          </p:cNvPr>
          <p:cNvGrpSpPr/>
          <p:nvPr/>
        </p:nvGrpSpPr>
        <p:grpSpPr>
          <a:xfrm>
            <a:off x="11093982" y="-14990"/>
            <a:ext cx="1097280" cy="1054387"/>
            <a:chOff x="11093982" y="-14990"/>
            <a:chExt cx="1097280" cy="1054387"/>
          </a:xfrm>
        </p:grpSpPr>
        <p:sp>
          <p:nvSpPr>
            <p:cNvPr id="10" name="NavigationTriangle">
              <a:extLst>
                <a:ext uri="{FF2B5EF4-FFF2-40B4-BE49-F238E27FC236}">
                  <a16:creationId xmlns:a16="http://schemas.microsoft.com/office/drawing/2014/main" id="{C8661147-B729-EC49-919B-C8B645F46957}"/>
                </a:ext>
              </a:extLst>
            </p:cNvPr>
            <p:cNvSpPr/>
            <p:nvPr/>
          </p:nvSpPr>
          <p:spPr>
            <a:xfrm rot="16200000">
              <a:off x="11115428" y="-36436"/>
              <a:ext cx="1054387" cy="1097280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1" name="NavigationIcon">
              <a:extLst>
                <a:ext uri="{FF2B5EF4-FFF2-40B4-BE49-F238E27FC236}">
                  <a16:creationId xmlns:a16="http://schemas.microsoft.com/office/drawing/2014/main" id="{F282CC5B-DDF3-564C-BE69-2F76C1C17F5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1698236" y="122285"/>
              <a:ext cx="365760" cy="365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/>
                <a:t>2</a:t>
              </a:r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89D3F4E5-319E-4089-819E-3878A08D24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75534" y="1818178"/>
            <a:ext cx="5016465" cy="1325563"/>
          </a:xfrm>
          <a:prstGeom prst="rect">
            <a:avLst/>
          </a:prstGeom>
        </p:spPr>
      </p:pic>
      <p:sp>
        <p:nvSpPr>
          <p:cNvPr id="6" name="TextBox 44">
            <a:extLst>
              <a:ext uri="{FF2B5EF4-FFF2-40B4-BE49-F238E27FC236}">
                <a16:creationId xmlns:a16="http://schemas.microsoft.com/office/drawing/2014/main" id="{CD77F8AD-2898-402C-9B7D-2E860A564BCE}"/>
              </a:ext>
            </a:extLst>
          </p:cNvPr>
          <p:cNvSpPr txBox="1"/>
          <p:nvPr/>
        </p:nvSpPr>
        <p:spPr>
          <a:xfrm>
            <a:off x="8519024" y="3143741"/>
            <a:ext cx="23294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err="1"/>
              <a:t>DeepCorr</a:t>
            </a:r>
            <a:r>
              <a:rPr lang="en-GB" sz="1400" dirty="0"/>
              <a:t> 2018, Nasr et al.</a:t>
            </a:r>
            <a:endParaRPr lang="en-GB" sz="120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E74E36E-52A8-44F9-97AA-FA2B486429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83104" y="4617458"/>
            <a:ext cx="2859534" cy="1652588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B964AEC6-7447-466F-A8CD-32C52BCB60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6225" y="4763685"/>
            <a:ext cx="2691100" cy="1652588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A5D92D9A-77B1-42CF-A63F-4465DEFA9E9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69277" y="2815990"/>
            <a:ext cx="1727526" cy="1377963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7C218D9-2030-4976-A1FA-6B1A5418EC2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046723" y="3795455"/>
            <a:ext cx="3000737" cy="1943042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5F0CBA2E-E997-4147-8810-37EA6BE293D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406629" y="477798"/>
            <a:ext cx="3106241" cy="121315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36A04F0A-8E3E-40D1-BBB1-42493D7AD89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19357" y="2325782"/>
            <a:ext cx="2451414" cy="1023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59368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dirty="0">
                <a:latin typeface="Trebuchet MS" panose="020B0703020202090204" pitchFamily="34" charset="0"/>
                <a:cs typeface="Calibri Light"/>
              </a:rPr>
              <a:t>Contribution</a:t>
            </a:r>
          </a:p>
        </p:txBody>
      </p:sp>
      <p:pic>
        <p:nvPicPr>
          <p:cNvPr id="3" name="Picture 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EE4D087-DB70-48EF-8583-F531882D7F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01309" y="5916050"/>
            <a:ext cx="2636575" cy="70799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5402393-FFAD-4674-B173-20ACF59F4BDF}"/>
              </a:ext>
            </a:extLst>
          </p:cNvPr>
          <p:cNvSpPr txBox="1"/>
          <p:nvPr/>
        </p:nvSpPr>
        <p:spPr>
          <a:xfrm>
            <a:off x="833169" y="1786204"/>
            <a:ext cx="496215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2400" dirty="0">
              <a:latin typeface="Trebuchet MS" panose="020B0703020202090204" pitchFamily="34" charset="0"/>
            </a:endParaRPr>
          </a:p>
          <a:p>
            <a:r>
              <a:rPr lang="en-GB" sz="2400" dirty="0">
                <a:latin typeface="Trebuchet MS" panose="020B0703020202090204" pitchFamily="34" charset="0"/>
              </a:rPr>
              <a:t>Large public Stepping-stone dataset:</a:t>
            </a:r>
          </a:p>
          <a:p>
            <a:endParaRPr lang="en-GB" sz="2400" dirty="0">
              <a:latin typeface="Trebuchet MS" panose="020B070302020209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dirty="0">
                <a:latin typeface="Trebuchet MS" panose="020B0703020202090204" pitchFamily="34" charset="0"/>
              </a:rPr>
              <a:t>90,000 connection pair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dirty="0">
                <a:latin typeface="Trebuchet MS" panose="020B0703020202090204" pitchFamily="34" charset="0"/>
              </a:rPr>
              <a:t>Chaff/delay tactic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dirty="0">
                <a:latin typeface="Trebuchet MS" panose="020B0703020202090204" pitchFamily="34" charset="0"/>
              </a:rPr>
              <a:t>realistic setu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dirty="0">
              <a:latin typeface="Trebuchet MS" panose="020B0703020202090204" pitchFamily="34" charset="0"/>
            </a:endParaRPr>
          </a:p>
          <a:p>
            <a:endParaRPr lang="en-GB" sz="2400" dirty="0">
              <a:latin typeface="Trebuchet MS" panose="020B0703020202090204" pitchFamily="34" charset="0"/>
            </a:endParaRPr>
          </a:p>
        </p:txBody>
      </p:sp>
      <p:sp>
        <p:nvSpPr>
          <p:cNvPr id="17" name="NavigationTriangle">
            <a:extLst>
              <a:ext uri="{FF2B5EF4-FFF2-40B4-BE49-F238E27FC236}">
                <a16:creationId xmlns:a16="http://schemas.microsoft.com/office/drawing/2014/main" id="{3BC513CC-BE93-BD4B-9CC4-57F95F513A57}"/>
              </a:ext>
            </a:extLst>
          </p:cNvPr>
          <p:cNvSpPr/>
          <p:nvPr/>
        </p:nvSpPr>
        <p:spPr>
          <a:xfrm rot="16200000">
            <a:off x="11115428" y="-3643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8" name="TextBox 8">
            <a:extLst>
              <a:ext uri="{FF2B5EF4-FFF2-40B4-BE49-F238E27FC236}">
                <a16:creationId xmlns:a16="http://schemas.microsoft.com/office/drawing/2014/main" id="{DA7063B2-C174-3849-91BE-D4DEF71EBC2C}"/>
              </a:ext>
            </a:extLst>
          </p:cNvPr>
          <p:cNvSpPr txBox="1"/>
          <p:nvPr/>
        </p:nvSpPr>
        <p:spPr>
          <a:xfrm>
            <a:off x="6680471" y="1786204"/>
            <a:ext cx="4962150" cy="3717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2400" dirty="0">
              <a:latin typeface="Trebuchet MS" panose="020B0703020202090204" pitchFamily="34" charset="0"/>
            </a:endParaRPr>
          </a:p>
          <a:p>
            <a:r>
              <a:rPr lang="en-GB" sz="2400" dirty="0">
                <a:latin typeface="Trebuchet MS" panose="020B0703020202090204" pitchFamily="34" charset="0"/>
              </a:rPr>
              <a:t>Re-evaluation of eight SSD-method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dirty="0">
              <a:latin typeface="Trebuchet MS" panose="020B070302020209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dirty="0">
                <a:latin typeface="Trebuchet MS" panose="020B0703020202090204" pitchFamily="34" charset="0"/>
              </a:rPr>
              <a:t>Fair comparison of capabilitie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dirty="0">
                <a:latin typeface="Trebuchet MS" panose="020B0703020202090204" pitchFamily="34" charset="0"/>
              </a:rPr>
              <a:t>different setting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dirty="0">
                <a:latin typeface="Trebuchet MS" panose="020B0703020202090204" pitchFamily="34" charset="0"/>
              </a:rPr>
              <a:t>Detection rates and </a:t>
            </a:r>
            <a:br>
              <a:rPr lang="en-GB" sz="2400" dirty="0">
                <a:latin typeface="Trebuchet MS" panose="020B0703020202090204" pitchFamily="34" charset="0"/>
              </a:rPr>
            </a:br>
            <a:r>
              <a:rPr lang="en-GB" sz="2400" dirty="0">
                <a:latin typeface="Trebuchet MS" panose="020B0703020202090204" pitchFamily="34" charset="0"/>
              </a:rPr>
              <a:t>AUC-scores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2093F4C1-40CB-4350-8B46-B25B2F95FB9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36666" y="1878330"/>
            <a:ext cx="4745453" cy="3773439"/>
          </a:xfrm>
          <a:prstGeom prst="rect">
            <a:avLst/>
          </a:prstGeom>
          <a:grpFill/>
          <a:ln w="28575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2A23E363-5962-4B96-AE06-856974562F4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503691" y="1957005"/>
            <a:ext cx="5029241" cy="3773439"/>
          </a:xfrm>
          <a:prstGeom prst="rect">
            <a:avLst/>
          </a:prstGeom>
          <a:grpFill/>
          <a:ln w="28575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53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dirty="0">
                <a:latin typeface="Trebuchet MS" panose="020B0703020202090204" pitchFamily="34" charset="0"/>
                <a:cs typeface="Calibri Light"/>
              </a:rPr>
              <a:t>Agenda</a:t>
            </a:r>
          </a:p>
        </p:txBody>
      </p:sp>
      <p:pic>
        <p:nvPicPr>
          <p:cNvPr id="3" name="Picture 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EE4D087-DB70-48EF-8583-F531882D7F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1309" y="5916050"/>
            <a:ext cx="2636575" cy="707993"/>
          </a:xfrm>
          <a:prstGeom prst="rect">
            <a:avLst/>
          </a:prstGeom>
        </p:spPr>
      </p:pic>
      <p:sp>
        <p:nvSpPr>
          <p:cNvPr id="12" name="Rectangle 6">
            <a:extLst>
              <a:ext uri="{FF2B5EF4-FFF2-40B4-BE49-F238E27FC236}">
                <a16:creationId xmlns:a16="http://schemas.microsoft.com/office/drawing/2014/main" id="{12F6ED3D-7197-644F-8AA9-97A923EFD83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480452" y="1489224"/>
            <a:ext cx="7231093" cy="4426826"/>
          </a:xfrm>
          <a:prstGeom prst="rect">
            <a:avLst/>
          </a:prstGeom>
          <a:grpFill/>
          <a:ln w="28575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CBD02C1E-CFD4-BB48-92AC-8D3265143495}"/>
              </a:ext>
            </a:extLst>
          </p:cNvPr>
          <p:cNvSpPr/>
          <p:nvPr/>
        </p:nvSpPr>
        <p:spPr>
          <a:xfrm>
            <a:off x="3126016" y="1583356"/>
            <a:ext cx="5939963" cy="48258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ML and network data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Problems in current datasets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Containerization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Traffic generation suite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</a:t>
            </a:r>
            <a:r>
              <a:rPr lang="en-GB" sz="2400" b="1" dirty="0"/>
              <a:t>Example use-case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Limitation &amp; conclusion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27315048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dirty="0">
                <a:latin typeface="Trebuchet MS" panose="020B0703020202090204" pitchFamily="34" charset="0"/>
                <a:cs typeface="Calibri Light"/>
              </a:rPr>
              <a:t>Agenda</a:t>
            </a:r>
          </a:p>
        </p:txBody>
      </p:sp>
      <p:pic>
        <p:nvPicPr>
          <p:cNvPr id="3" name="Picture 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EE4D087-DB70-48EF-8583-F531882D7F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1309" y="5916050"/>
            <a:ext cx="2636575" cy="707993"/>
          </a:xfrm>
          <a:prstGeom prst="rect">
            <a:avLst/>
          </a:prstGeom>
        </p:spPr>
      </p:pic>
      <p:sp>
        <p:nvSpPr>
          <p:cNvPr id="12" name="Rectangle 6">
            <a:extLst>
              <a:ext uri="{FF2B5EF4-FFF2-40B4-BE49-F238E27FC236}">
                <a16:creationId xmlns:a16="http://schemas.microsoft.com/office/drawing/2014/main" id="{12F6ED3D-7197-644F-8AA9-97A923EFD83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480452" y="1489224"/>
            <a:ext cx="7231093" cy="4426826"/>
          </a:xfrm>
          <a:prstGeom prst="rect">
            <a:avLst/>
          </a:prstGeom>
          <a:grpFill/>
          <a:ln w="28575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CBD02C1E-CFD4-BB48-92AC-8D3265143495}"/>
              </a:ext>
            </a:extLst>
          </p:cNvPr>
          <p:cNvSpPr/>
          <p:nvPr/>
        </p:nvSpPr>
        <p:spPr>
          <a:xfrm>
            <a:off x="3126016" y="1583356"/>
            <a:ext cx="5939963" cy="48258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ML and network data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Problems in current datasets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Containerization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Traffic generation suite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Example use-case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</a:t>
            </a:r>
            <a:r>
              <a:rPr lang="en-GB" sz="2400" b="1" dirty="0"/>
              <a:t>Limitation &amp; conclusion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29756219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dirty="0">
                <a:latin typeface="Trebuchet MS" panose="020B0703020202090204" pitchFamily="34" charset="0"/>
                <a:cs typeface="Calibri Light"/>
              </a:rPr>
              <a:t>Agenda</a:t>
            </a:r>
          </a:p>
        </p:txBody>
      </p:sp>
      <p:pic>
        <p:nvPicPr>
          <p:cNvPr id="3" name="Picture 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EE4D087-DB70-48EF-8583-F531882D7F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1309" y="5916050"/>
            <a:ext cx="2636575" cy="707993"/>
          </a:xfrm>
          <a:prstGeom prst="rect">
            <a:avLst/>
          </a:prstGeom>
        </p:spPr>
      </p:pic>
      <p:sp>
        <p:nvSpPr>
          <p:cNvPr id="12" name="Rectangle 6">
            <a:extLst>
              <a:ext uri="{FF2B5EF4-FFF2-40B4-BE49-F238E27FC236}">
                <a16:creationId xmlns:a16="http://schemas.microsoft.com/office/drawing/2014/main" id="{12F6ED3D-7197-644F-8AA9-97A923EFD83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480452" y="1489224"/>
            <a:ext cx="7231093" cy="3277329"/>
          </a:xfrm>
          <a:prstGeom prst="rect">
            <a:avLst/>
          </a:prstGeom>
          <a:grpFill/>
          <a:ln w="28575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CBD02C1E-CFD4-BB48-92AC-8D3265143495}"/>
              </a:ext>
            </a:extLst>
          </p:cNvPr>
          <p:cNvSpPr/>
          <p:nvPr/>
        </p:nvSpPr>
        <p:spPr>
          <a:xfrm>
            <a:off x="3126016" y="1583356"/>
            <a:ext cx="5939963" cy="34100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Stepping-stones and detection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Data generation process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Evaluation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b="1" dirty="0"/>
              <a:t>      Limitation &amp; conclusion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5963598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dirty="0">
                <a:latin typeface="Trebuchet MS" panose="020B0703020202090204" pitchFamily="34" charset="0"/>
                <a:cs typeface="Calibri Light"/>
              </a:rPr>
              <a:t>Agenda</a:t>
            </a:r>
          </a:p>
        </p:txBody>
      </p:sp>
      <p:pic>
        <p:nvPicPr>
          <p:cNvPr id="3" name="Picture 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EE4D087-DB70-48EF-8583-F531882D7F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1309" y="5916050"/>
            <a:ext cx="2636575" cy="707993"/>
          </a:xfrm>
          <a:prstGeom prst="rect">
            <a:avLst/>
          </a:prstGeom>
        </p:spPr>
      </p:pic>
      <p:sp>
        <p:nvSpPr>
          <p:cNvPr id="12" name="Rectangle 6">
            <a:extLst>
              <a:ext uri="{FF2B5EF4-FFF2-40B4-BE49-F238E27FC236}">
                <a16:creationId xmlns:a16="http://schemas.microsoft.com/office/drawing/2014/main" id="{12F6ED3D-7197-644F-8AA9-97A923EFD83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480452" y="1489224"/>
            <a:ext cx="7231093" cy="3277329"/>
          </a:xfrm>
          <a:prstGeom prst="rect">
            <a:avLst/>
          </a:prstGeom>
          <a:grpFill/>
          <a:ln w="28575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CBD02C1E-CFD4-BB48-92AC-8D3265143495}"/>
              </a:ext>
            </a:extLst>
          </p:cNvPr>
          <p:cNvSpPr/>
          <p:nvPr/>
        </p:nvSpPr>
        <p:spPr>
          <a:xfrm>
            <a:off x="3126016" y="1583356"/>
            <a:ext cx="5939963" cy="34100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Stepping-stones and detection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Data generation process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Evaluation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Limitation &amp; conclusion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9283948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dirty="0">
                <a:latin typeface="Trebuchet MS" panose="020B0703020202090204" pitchFamily="34" charset="0"/>
                <a:cs typeface="Calibri Light"/>
              </a:rPr>
              <a:t>Agenda</a:t>
            </a:r>
          </a:p>
        </p:txBody>
      </p:sp>
      <p:pic>
        <p:nvPicPr>
          <p:cNvPr id="3" name="Picture 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EE4D087-DB70-48EF-8583-F531882D7F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1309" y="5916050"/>
            <a:ext cx="2636575" cy="707993"/>
          </a:xfrm>
          <a:prstGeom prst="rect">
            <a:avLst/>
          </a:prstGeom>
        </p:spPr>
      </p:pic>
      <p:sp>
        <p:nvSpPr>
          <p:cNvPr id="12" name="Rectangle 6">
            <a:extLst>
              <a:ext uri="{FF2B5EF4-FFF2-40B4-BE49-F238E27FC236}">
                <a16:creationId xmlns:a16="http://schemas.microsoft.com/office/drawing/2014/main" id="{12F6ED3D-7197-644F-8AA9-97A923EFD83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480452" y="1489224"/>
            <a:ext cx="7231093" cy="3277329"/>
          </a:xfrm>
          <a:prstGeom prst="rect">
            <a:avLst/>
          </a:prstGeom>
          <a:grpFill/>
          <a:ln w="28575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CBD02C1E-CFD4-BB48-92AC-8D3265143495}"/>
              </a:ext>
            </a:extLst>
          </p:cNvPr>
          <p:cNvSpPr/>
          <p:nvPr/>
        </p:nvSpPr>
        <p:spPr>
          <a:xfrm>
            <a:off x="3126016" y="1583356"/>
            <a:ext cx="5939963" cy="34100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</a:t>
            </a:r>
            <a:r>
              <a:rPr lang="en-GB" sz="2400" b="1" dirty="0"/>
              <a:t>Stepping-stones and detection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Data generation process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Evaluation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Limitation &amp; conclusion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12741031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dirty="0">
                <a:latin typeface="Trebuchet MS" panose="020B0703020202090204" pitchFamily="34" charset="0"/>
                <a:cs typeface="Calibri Light"/>
              </a:rPr>
              <a:t>Agenda</a:t>
            </a:r>
          </a:p>
        </p:txBody>
      </p:sp>
      <p:pic>
        <p:nvPicPr>
          <p:cNvPr id="3" name="Picture 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EE4D087-DB70-48EF-8583-F531882D7F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1309" y="5916050"/>
            <a:ext cx="2636575" cy="707993"/>
          </a:xfrm>
          <a:prstGeom prst="rect">
            <a:avLst/>
          </a:prstGeom>
        </p:spPr>
      </p:pic>
      <p:sp>
        <p:nvSpPr>
          <p:cNvPr id="12" name="Rectangle 6">
            <a:extLst>
              <a:ext uri="{FF2B5EF4-FFF2-40B4-BE49-F238E27FC236}">
                <a16:creationId xmlns:a16="http://schemas.microsoft.com/office/drawing/2014/main" id="{12F6ED3D-7197-644F-8AA9-97A923EFD83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480452" y="1489224"/>
            <a:ext cx="7231093" cy="3277329"/>
          </a:xfrm>
          <a:prstGeom prst="rect">
            <a:avLst/>
          </a:prstGeom>
          <a:grpFill/>
          <a:ln w="28575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CBD02C1E-CFD4-BB48-92AC-8D3265143495}"/>
              </a:ext>
            </a:extLst>
          </p:cNvPr>
          <p:cNvSpPr/>
          <p:nvPr/>
        </p:nvSpPr>
        <p:spPr>
          <a:xfrm>
            <a:off x="3126016" y="1583356"/>
            <a:ext cx="5939963" cy="34100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Stepping-stones and detection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</a:t>
            </a:r>
            <a:r>
              <a:rPr lang="en-GB" sz="2400" b="1" dirty="0"/>
              <a:t>Data generation process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Evaluation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Limitation &amp; conclusion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255938759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dirty="0">
                <a:latin typeface="Trebuchet MS" panose="020B0703020202090204" pitchFamily="34" charset="0"/>
                <a:cs typeface="Calibri Light"/>
              </a:rPr>
              <a:t>Agenda</a:t>
            </a:r>
          </a:p>
        </p:txBody>
      </p:sp>
      <p:pic>
        <p:nvPicPr>
          <p:cNvPr id="3" name="Picture 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EE4D087-DB70-48EF-8583-F531882D7F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1309" y="5916050"/>
            <a:ext cx="2636575" cy="707993"/>
          </a:xfrm>
          <a:prstGeom prst="rect">
            <a:avLst/>
          </a:prstGeom>
        </p:spPr>
      </p:pic>
      <p:sp>
        <p:nvSpPr>
          <p:cNvPr id="12" name="Rectangle 6">
            <a:extLst>
              <a:ext uri="{FF2B5EF4-FFF2-40B4-BE49-F238E27FC236}">
                <a16:creationId xmlns:a16="http://schemas.microsoft.com/office/drawing/2014/main" id="{12F6ED3D-7197-644F-8AA9-97A923EFD83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480452" y="1489224"/>
            <a:ext cx="7231093" cy="3277329"/>
          </a:xfrm>
          <a:prstGeom prst="rect">
            <a:avLst/>
          </a:prstGeom>
          <a:grpFill/>
          <a:ln w="28575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CBD02C1E-CFD4-BB48-92AC-8D3265143495}"/>
              </a:ext>
            </a:extLst>
          </p:cNvPr>
          <p:cNvSpPr/>
          <p:nvPr/>
        </p:nvSpPr>
        <p:spPr>
          <a:xfrm>
            <a:off x="3126016" y="1583356"/>
            <a:ext cx="5939963" cy="34100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Stepping-stones and detection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Data generation process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</a:t>
            </a:r>
            <a:r>
              <a:rPr lang="en-GB" sz="2400" b="1" dirty="0"/>
              <a:t>Evaluation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r>
              <a:rPr lang="en-GB" sz="2400" dirty="0"/>
              <a:t>      Limitation &amp; conclusion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+mj-lt"/>
              <a:buAutoNum type="arabicParenBoth"/>
            </a:pP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239896576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8320791" cy="1325563"/>
          </a:xfrm>
        </p:spPr>
        <p:txBody>
          <a:bodyPr/>
          <a:lstStyle/>
          <a:p>
            <a:r>
              <a:rPr lang="en-US" sz="4000" dirty="0">
                <a:latin typeface="Trebuchet MS" panose="020B0703020202090204" pitchFamily="34" charset="0"/>
              </a:rPr>
              <a:t>Limitations</a:t>
            </a:r>
            <a:endParaRPr lang="en-US" dirty="0">
              <a:latin typeface="Trebuchet MS" panose="020B0703020202090204" pitchFamily="34" charset="0"/>
              <a:cs typeface="Calibri Light"/>
            </a:endParaRPr>
          </a:p>
        </p:txBody>
      </p:sp>
      <p:sp>
        <p:nvSpPr>
          <p:cNvPr id="5" name="TextBox 8">
            <a:extLst>
              <a:ext uri="{FF2B5EF4-FFF2-40B4-BE49-F238E27FC236}">
                <a16:creationId xmlns:a16="http://schemas.microsoft.com/office/drawing/2014/main" id="{F5E7AF60-05A5-E846-8FE2-463486EF3220}"/>
              </a:ext>
            </a:extLst>
          </p:cNvPr>
          <p:cNvSpPr txBox="1"/>
          <p:nvPr/>
        </p:nvSpPr>
        <p:spPr>
          <a:xfrm>
            <a:off x="2777062" y="1690688"/>
            <a:ext cx="572324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Trebuchet MS" panose="020B0703020202090204" pitchFamily="34" charset="0"/>
              </a:rPr>
              <a:t>Not replicated well:</a:t>
            </a:r>
          </a:p>
          <a:p>
            <a:endParaRPr lang="en-US" sz="24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Trebuchet MS" panose="020B0703020202090204" pitchFamily="34" charset="0"/>
              </a:rPr>
              <a:t>Network-wide distribu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Trebuchet MS" panose="020B0703020202090204" pitchFamily="34" charset="0"/>
              </a:rPr>
              <a:t>long-term temporal structures </a:t>
            </a:r>
          </a:p>
          <a:p>
            <a:endParaRPr lang="en-US" sz="2400" dirty="0">
              <a:latin typeface="Trebuchet MS" panose="020B0703020202090204" pitchFamily="34" charset="0"/>
            </a:endParaRPr>
          </a:p>
          <a:p>
            <a:endParaRPr lang="en-US" sz="2400" dirty="0">
              <a:latin typeface="Trebuchet MS" panose="020B0703020202090204" pitchFamily="34" charset="0"/>
            </a:endParaRPr>
          </a:p>
          <a:p>
            <a:r>
              <a:rPr lang="en-US" sz="2400" dirty="0">
                <a:latin typeface="Trebuchet MS" panose="020B0703020202090204" pitchFamily="34" charset="0"/>
              </a:rPr>
              <a:t>Data volume hu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Trebuchet MS" panose="020B0703020202090204" pitchFamily="34" charset="0"/>
              </a:rPr>
              <a:t>preprocessing required</a:t>
            </a:r>
          </a:p>
          <a:p>
            <a:endParaRPr lang="en-US" sz="2400" dirty="0">
              <a:latin typeface="Trebuchet MS" panose="020B0703020202090204" pitchFamily="34" charset="0"/>
            </a:endParaRPr>
          </a:p>
          <a:p>
            <a:br>
              <a:rPr lang="en-US" sz="2400" dirty="0">
                <a:latin typeface="Trebuchet MS" panose="020B0703020202090204" pitchFamily="34" charset="0"/>
              </a:rPr>
            </a:br>
            <a:r>
              <a:rPr lang="en-US" sz="2400" dirty="0">
                <a:latin typeface="Trebuchet MS" panose="020B0703020202090204" pitchFamily="34" charset="0"/>
              </a:rPr>
              <a:t>Manual implementation</a:t>
            </a:r>
          </a:p>
          <a:p>
            <a:endParaRPr lang="en-US" sz="2400" dirty="0">
              <a:latin typeface="Trebuchet MS" panose="020B0703020202090204" pitchFamily="34" charset="0"/>
            </a:endParaRPr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36A558D7-BBF3-3842-A595-122FBA174F4D}"/>
              </a:ext>
            </a:extLst>
          </p:cNvPr>
          <p:cNvGrpSpPr/>
          <p:nvPr/>
        </p:nvGrpSpPr>
        <p:grpSpPr>
          <a:xfrm>
            <a:off x="11093982" y="-14990"/>
            <a:ext cx="1097280" cy="1054387"/>
            <a:chOff x="11093982" y="-14990"/>
            <a:chExt cx="1097280" cy="1054387"/>
          </a:xfrm>
        </p:grpSpPr>
        <p:sp>
          <p:nvSpPr>
            <p:cNvPr id="90" name="NavigationTriangle">
              <a:extLst>
                <a:ext uri="{FF2B5EF4-FFF2-40B4-BE49-F238E27FC236}">
                  <a16:creationId xmlns:a16="http://schemas.microsoft.com/office/drawing/2014/main" id="{75CC37CB-0FDB-9C4D-B950-F045669F9AB9}"/>
                </a:ext>
              </a:extLst>
            </p:cNvPr>
            <p:cNvSpPr/>
            <p:nvPr/>
          </p:nvSpPr>
          <p:spPr>
            <a:xfrm rot="16200000">
              <a:off x="11115428" y="-36436"/>
              <a:ext cx="1054387" cy="1097280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91" name="NavigationIcon">
              <a:extLst>
                <a:ext uri="{FF2B5EF4-FFF2-40B4-BE49-F238E27FC236}">
                  <a16:creationId xmlns:a16="http://schemas.microsoft.com/office/drawing/2014/main" id="{248BB64A-2681-154D-A068-C8F7AB78918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1698236" y="122285"/>
              <a:ext cx="365760" cy="365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/>
                <a:t>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4124211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0647AE-3CD4-E943-AE87-01BA2E4FC8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68DA8C38-8324-104E-9E41-2F2F62997DD6}"/>
              </a:ext>
            </a:extLst>
          </p:cNvPr>
          <p:cNvSpPr txBox="1">
            <a:spLocks/>
          </p:cNvSpPr>
          <p:nvPr/>
        </p:nvSpPr>
        <p:spPr>
          <a:xfrm>
            <a:off x="1656348" y="1867737"/>
            <a:ext cx="7571874" cy="46251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dirty="0" err="1"/>
              <a:t>Our</a:t>
            </a:r>
            <a:r>
              <a:rPr lang="de-DE" sz="2400" dirty="0"/>
              <a:t> </a:t>
            </a:r>
            <a:r>
              <a:rPr lang="de-DE" sz="2400" dirty="0" err="1"/>
              <a:t>traffic</a:t>
            </a:r>
            <a:r>
              <a:rPr lang="de-DE" sz="2400" dirty="0"/>
              <a:t> </a:t>
            </a:r>
            <a:r>
              <a:rPr lang="de-DE" sz="2400" dirty="0" err="1"/>
              <a:t>generation</a:t>
            </a:r>
            <a:r>
              <a:rPr lang="de-DE" sz="2400" dirty="0"/>
              <a:t> </a:t>
            </a:r>
            <a:r>
              <a:rPr lang="de-DE" sz="2400" dirty="0" err="1"/>
              <a:t>suite</a:t>
            </a:r>
            <a:r>
              <a:rPr lang="de-DE" sz="2400" dirty="0"/>
              <a:t> </a:t>
            </a:r>
            <a:r>
              <a:rPr lang="de-DE" sz="2400" dirty="0" err="1"/>
              <a:t>fuels</a:t>
            </a:r>
            <a:r>
              <a:rPr lang="de-DE" sz="2400" dirty="0"/>
              <a:t> ML </a:t>
            </a:r>
            <a:r>
              <a:rPr lang="de-DE" sz="2400" dirty="0" err="1"/>
              <a:t>through</a:t>
            </a:r>
            <a:r>
              <a:rPr lang="de-DE" sz="2400" dirty="0"/>
              <a:t>:</a:t>
            </a:r>
            <a:endParaRPr lang="de-DE" dirty="0"/>
          </a:p>
          <a:p>
            <a:pPr lvl="1"/>
            <a:r>
              <a:rPr lang="de-DE" sz="2000" dirty="0"/>
              <a:t>High </a:t>
            </a:r>
            <a:r>
              <a:rPr lang="de-DE" sz="2000" dirty="0" err="1"/>
              <a:t>degree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traffic</a:t>
            </a:r>
            <a:r>
              <a:rPr lang="de-DE" sz="2000" dirty="0"/>
              <a:t> </a:t>
            </a:r>
            <a:r>
              <a:rPr lang="de-DE" sz="2000" dirty="0" err="1"/>
              <a:t>variability</a:t>
            </a:r>
            <a:endParaRPr lang="de-DE" sz="2000" dirty="0"/>
          </a:p>
          <a:p>
            <a:pPr lvl="1"/>
            <a:r>
              <a:rPr lang="de-DE" sz="2000" dirty="0" err="1"/>
              <a:t>Ground</a:t>
            </a:r>
            <a:r>
              <a:rPr lang="de-DE" sz="2000" dirty="0"/>
              <a:t> </a:t>
            </a:r>
            <a:r>
              <a:rPr lang="de-DE" sz="2000" dirty="0" err="1"/>
              <a:t>truth</a:t>
            </a:r>
            <a:r>
              <a:rPr lang="de-DE" sz="2000" dirty="0"/>
              <a:t> </a:t>
            </a:r>
            <a:r>
              <a:rPr lang="de-DE" sz="2000" dirty="0" err="1"/>
              <a:t>labels</a:t>
            </a:r>
            <a:r>
              <a:rPr lang="de-DE" sz="2000" dirty="0"/>
              <a:t> </a:t>
            </a:r>
            <a:r>
              <a:rPr lang="de-DE" sz="2000" dirty="0" err="1"/>
              <a:t>through</a:t>
            </a:r>
            <a:r>
              <a:rPr lang="de-DE" sz="2000" dirty="0"/>
              <a:t> </a:t>
            </a:r>
            <a:r>
              <a:rPr lang="de-DE" sz="2000" dirty="0" err="1"/>
              <a:t>activity</a:t>
            </a:r>
            <a:r>
              <a:rPr lang="de-DE" sz="2000" dirty="0"/>
              <a:t> </a:t>
            </a:r>
            <a:r>
              <a:rPr lang="de-DE" sz="2000" dirty="0" err="1"/>
              <a:t>isolation</a:t>
            </a:r>
            <a:endParaRPr lang="de-DE" sz="2000" dirty="0"/>
          </a:p>
          <a:p>
            <a:pPr lvl="1"/>
            <a:r>
              <a:rPr lang="de-DE" sz="2000" dirty="0" err="1"/>
              <a:t>Scalability</a:t>
            </a:r>
            <a:endParaRPr lang="de-DE" sz="2000" dirty="0"/>
          </a:p>
          <a:p>
            <a:pPr lvl="1"/>
            <a:r>
              <a:rPr lang="de-DE" sz="2000" dirty="0" err="1"/>
              <a:t>Modularity</a:t>
            </a:r>
            <a:endParaRPr lang="de-DE" sz="2000" dirty="0"/>
          </a:p>
          <a:p>
            <a:pPr lvl="1"/>
            <a:endParaRPr lang="de-DE" sz="2000" dirty="0"/>
          </a:p>
          <a:p>
            <a:r>
              <a:rPr lang="de-DE" sz="2200" dirty="0" err="1"/>
              <a:t>github.com</a:t>
            </a:r>
            <a:r>
              <a:rPr lang="de-DE" sz="2200" dirty="0"/>
              <a:t>/</a:t>
            </a:r>
            <a:r>
              <a:rPr lang="de-DE" sz="2200" dirty="0" err="1"/>
              <a:t>detlearsom</a:t>
            </a:r>
            <a:r>
              <a:rPr lang="de-DE" sz="2200" dirty="0"/>
              <a:t>/</a:t>
            </a:r>
            <a:r>
              <a:rPr lang="de-DE" sz="2200" dirty="0" err="1"/>
              <a:t>detgen</a:t>
            </a:r>
            <a:r>
              <a:rPr lang="de-DE" sz="2200" dirty="0"/>
              <a:t>/</a:t>
            </a:r>
          </a:p>
          <a:p>
            <a:pPr marL="457200" lvl="1" indent="0">
              <a:buNone/>
            </a:pPr>
            <a:endParaRPr lang="de-DE" sz="2000" dirty="0"/>
          </a:p>
          <a:p>
            <a:r>
              <a:rPr lang="de-DE" sz="2400" dirty="0"/>
              <a:t>Future </a:t>
            </a:r>
            <a:r>
              <a:rPr lang="de-DE" sz="2400" dirty="0" err="1"/>
              <a:t>work</a:t>
            </a:r>
            <a:r>
              <a:rPr lang="de-DE" sz="2400" dirty="0"/>
              <a:t>:</a:t>
            </a:r>
          </a:p>
          <a:p>
            <a:pPr lvl="1"/>
            <a:r>
              <a:rPr lang="de-DE" sz="2000" dirty="0" err="1"/>
              <a:t>capture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syslogs</a:t>
            </a:r>
            <a:endParaRPr lang="de-DE" sz="2000" dirty="0"/>
          </a:p>
          <a:p>
            <a:pPr lvl="1"/>
            <a:r>
              <a:rPr lang="de-DE" sz="2000" dirty="0" err="1"/>
              <a:t>streamlined</a:t>
            </a:r>
            <a:r>
              <a:rPr lang="de-DE" sz="2000" dirty="0"/>
              <a:t> </a:t>
            </a:r>
            <a:r>
              <a:rPr lang="de-DE" sz="2000" dirty="0" err="1"/>
              <a:t>data</a:t>
            </a:r>
            <a:r>
              <a:rPr lang="de-DE" sz="2000" dirty="0"/>
              <a:t> </a:t>
            </a:r>
            <a:r>
              <a:rPr lang="de-DE" sz="2000" dirty="0" err="1"/>
              <a:t>coalescence</a:t>
            </a:r>
            <a:endParaRPr lang="de-DE" sz="2000" dirty="0"/>
          </a:p>
          <a:p>
            <a:pPr lvl="1"/>
            <a:endParaRPr lang="de-DE" sz="2000" dirty="0"/>
          </a:p>
          <a:p>
            <a:pPr lvl="1"/>
            <a:endParaRPr lang="de-DE" sz="2000" dirty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B5A644E-9D3D-3A4F-BD32-7F205B30CBB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397610" y="1666623"/>
            <a:ext cx="7722327" cy="4469481"/>
          </a:xfrm>
          <a:prstGeom prst="rect">
            <a:avLst/>
          </a:prstGeom>
          <a:grpFill/>
          <a:ln w="28575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073BE5C-F288-E443-B2D0-BE70DC9D948E}"/>
              </a:ext>
            </a:extLst>
          </p:cNvPr>
          <p:cNvGrpSpPr/>
          <p:nvPr/>
        </p:nvGrpSpPr>
        <p:grpSpPr>
          <a:xfrm>
            <a:off x="11093982" y="-14990"/>
            <a:ext cx="1097280" cy="1054387"/>
            <a:chOff x="11093982" y="-14990"/>
            <a:chExt cx="1097280" cy="1054387"/>
          </a:xfrm>
        </p:grpSpPr>
        <p:sp>
          <p:nvSpPr>
            <p:cNvPr id="9" name="NavigationTriangle">
              <a:extLst>
                <a:ext uri="{FF2B5EF4-FFF2-40B4-BE49-F238E27FC236}">
                  <a16:creationId xmlns:a16="http://schemas.microsoft.com/office/drawing/2014/main" id="{F945F89B-52D9-FD41-9215-D4214EF3BF04}"/>
                </a:ext>
              </a:extLst>
            </p:cNvPr>
            <p:cNvSpPr/>
            <p:nvPr/>
          </p:nvSpPr>
          <p:spPr>
            <a:xfrm rot="16200000">
              <a:off x="11115428" y="-36436"/>
              <a:ext cx="1054387" cy="1097280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0" name="NavigationIcon">
              <a:extLst>
                <a:ext uri="{FF2B5EF4-FFF2-40B4-BE49-F238E27FC236}">
                  <a16:creationId xmlns:a16="http://schemas.microsoft.com/office/drawing/2014/main" id="{CACAB44C-0A72-BA4B-8D13-BEC5784077C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1698236" y="122285"/>
              <a:ext cx="365760" cy="365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/>
                <a:t>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2529172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rebuchet MS" panose="020B0703020202090204" pitchFamily="34" charset="0"/>
                <a:cs typeface="Calibri Light"/>
              </a:rPr>
              <a:t>Containerization</a:t>
            </a:r>
          </a:p>
        </p:txBody>
      </p:sp>
      <p:sp>
        <p:nvSpPr>
          <p:cNvPr id="5" name="TextBox 8">
            <a:extLst>
              <a:ext uri="{FF2B5EF4-FFF2-40B4-BE49-F238E27FC236}">
                <a16:creationId xmlns:a16="http://schemas.microsoft.com/office/drawing/2014/main" id="{F5E7AF60-05A5-E846-8FE2-463486EF3220}"/>
              </a:ext>
            </a:extLst>
          </p:cNvPr>
          <p:cNvSpPr txBox="1"/>
          <p:nvPr/>
        </p:nvSpPr>
        <p:spPr>
          <a:xfrm>
            <a:off x="756754" y="1810371"/>
            <a:ext cx="4577245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Trebuchet MS" panose="020B0703020202090204" pitchFamily="34" charset="0"/>
              </a:rPr>
              <a:t>Programs/process as standalone virtualised standard units </a:t>
            </a:r>
          </a:p>
          <a:p>
            <a:endParaRPr lang="en-GB" sz="2400" dirty="0">
              <a:latin typeface="Trebuchet MS" panose="020B0703020202090204" pitchFamily="34" charset="0"/>
            </a:endParaRPr>
          </a:p>
          <a:p>
            <a:r>
              <a:rPr lang="en-GB" sz="2400" dirty="0">
                <a:latin typeface="Trebuchet MS" panose="020B0703020202090204" pitchFamily="34" charset="0"/>
              </a:rPr>
              <a:t>Advantage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latin typeface="Trebuchet MS" panose="020B0703020202090204" pitchFamily="34" charset="0"/>
              </a:rPr>
              <a:t>lightweigh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latin typeface="Trebuchet MS" panose="020B0703020202090204" pitchFamily="34" charset="0"/>
              </a:rPr>
              <a:t>runs </a:t>
            </a:r>
            <a:r>
              <a:rPr lang="de-DE" sz="2400" dirty="0" err="1">
                <a:latin typeface="Trebuchet MS" panose="020B0703020202090204" pitchFamily="34" charset="0"/>
              </a:rPr>
              <a:t>uniformly</a:t>
            </a:r>
            <a:endParaRPr lang="en-GB" sz="24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latin typeface="Trebuchet MS" panose="020B0703020202090204" pitchFamily="34" charset="0"/>
              </a:rPr>
              <a:t>safe through isolation</a:t>
            </a:r>
          </a:p>
          <a:p>
            <a:pPr marL="342900" indent="-342900">
              <a:buFont typeface="Wingdings" pitchFamily="2" charset="2"/>
              <a:buChar char="§"/>
            </a:pPr>
            <a:endParaRPr lang="en-GB" sz="2400" dirty="0">
              <a:latin typeface="Trebuchet MS" panose="020B0703020202090204" pitchFamily="34" charset="0"/>
            </a:endParaRPr>
          </a:p>
          <a:p>
            <a:pPr marL="342900" indent="-342900">
              <a:buFont typeface="Wingdings" pitchFamily="2" charset="2"/>
              <a:buChar char="§"/>
            </a:pPr>
            <a:endParaRPr lang="en-GB" sz="2400" dirty="0">
              <a:latin typeface="Trebuchet MS" panose="020B0703020202090204" pitchFamily="34" charset="0"/>
            </a:endParaRPr>
          </a:p>
          <a:p>
            <a:r>
              <a:rPr lang="en-GB" sz="2400" dirty="0">
                <a:latin typeface="Trebuchet MS" panose="020B0703020202090204" pitchFamily="34" charset="0"/>
              </a:rPr>
              <a:t>Containers can be arranged in virtual networks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68F0D51E-BB4D-1B46-92CE-F683782BAA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6677" y="1065937"/>
            <a:ext cx="5601207" cy="4850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9A13E66A-2016-CF47-A375-0FB7BA973270}"/>
              </a:ext>
            </a:extLst>
          </p:cNvPr>
          <p:cNvGrpSpPr/>
          <p:nvPr/>
        </p:nvGrpSpPr>
        <p:grpSpPr>
          <a:xfrm>
            <a:off x="11093982" y="-14990"/>
            <a:ext cx="1097280" cy="1054387"/>
            <a:chOff x="11093982" y="-14990"/>
            <a:chExt cx="1097280" cy="1054387"/>
          </a:xfrm>
        </p:grpSpPr>
        <p:sp>
          <p:nvSpPr>
            <p:cNvPr id="9" name="NavigationTriangle">
              <a:extLst>
                <a:ext uri="{FF2B5EF4-FFF2-40B4-BE49-F238E27FC236}">
                  <a16:creationId xmlns:a16="http://schemas.microsoft.com/office/drawing/2014/main" id="{E0B8F027-04C0-B144-A435-3F68BAEF7D46}"/>
                </a:ext>
              </a:extLst>
            </p:cNvPr>
            <p:cNvSpPr/>
            <p:nvPr/>
          </p:nvSpPr>
          <p:spPr>
            <a:xfrm rot="16200000">
              <a:off x="11115428" y="-36436"/>
              <a:ext cx="1054387" cy="1097280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0" name="NavigationIcon">
              <a:extLst>
                <a:ext uri="{FF2B5EF4-FFF2-40B4-BE49-F238E27FC236}">
                  <a16:creationId xmlns:a16="http://schemas.microsoft.com/office/drawing/2014/main" id="{592AEE21-66E8-E545-AC61-3AE6BA1E7DD7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1698236" y="122285"/>
              <a:ext cx="365760" cy="365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/>
                <a:t>3</a:t>
              </a:r>
            </a:p>
          </p:txBody>
        </p:sp>
      </p:grpSp>
      <p:pic>
        <p:nvPicPr>
          <p:cNvPr id="1026" name="Picture 2" descr="Image result for docker">
            <a:extLst>
              <a:ext uri="{FF2B5EF4-FFF2-40B4-BE49-F238E27FC236}">
                <a16:creationId xmlns:a16="http://schemas.microsoft.com/office/drawing/2014/main" id="{407ACC23-7C8C-8A42-812B-C385557042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1131" y="305165"/>
            <a:ext cx="1631092" cy="1393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07079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dirty="0">
                <a:latin typeface="Trebuchet MS" panose="020B0703020202090204" pitchFamily="34" charset="0"/>
                <a:cs typeface="Calibri Light"/>
              </a:rPr>
              <a:t>Stepping-stone</a:t>
            </a:r>
          </a:p>
        </p:txBody>
      </p:sp>
      <p:pic>
        <p:nvPicPr>
          <p:cNvPr id="3" name="Picture 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EE4D087-DB70-48EF-8583-F531882D7F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1309" y="5916050"/>
            <a:ext cx="2636575" cy="70799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5402393-FFAD-4674-B173-20ACF59F4BDF}"/>
              </a:ext>
            </a:extLst>
          </p:cNvPr>
          <p:cNvSpPr txBox="1"/>
          <p:nvPr/>
        </p:nvSpPr>
        <p:spPr>
          <a:xfrm>
            <a:off x="744681" y="1817928"/>
            <a:ext cx="522810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Trebuchet MS" panose="020B0703020202090204" pitchFamily="34" charset="0"/>
              </a:rPr>
              <a:t>Relay of attack via “stepping-stone”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Hide attack origi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Access protected resour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Interactive access</a:t>
            </a:r>
          </a:p>
          <a:p>
            <a:pPr marL="342900" indent="-342900">
              <a:buFont typeface="Wingdings" pitchFamily="2" charset="2"/>
              <a:buChar char="§"/>
            </a:pPr>
            <a:endParaRPr lang="en-GB" sz="2000" dirty="0">
              <a:latin typeface="Trebuchet MS" panose="020B0703020202090204" pitchFamily="34" charset="0"/>
            </a:endParaRPr>
          </a:p>
          <a:p>
            <a:pPr marL="342900" indent="-342900">
              <a:buFont typeface="Wingdings" pitchFamily="2" charset="2"/>
              <a:buChar char="§"/>
            </a:pPr>
            <a:endParaRPr lang="en-GB" sz="2000" dirty="0">
              <a:latin typeface="Trebuchet MS" panose="020B0703020202090204" pitchFamily="34" charset="0"/>
            </a:endParaRPr>
          </a:p>
          <a:p>
            <a:pPr lvl="1"/>
            <a:endParaRPr lang="en-GB" sz="2000" dirty="0">
              <a:latin typeface="Trebuchet MS" panose="020B0703020202090204" pitchFamily="34" charset="0"/>
            </a:endParaRPr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7F1661AC-E5DD-1740-B58A-E9F01EEDEF60}"/>
              </a:ext>
            </a:extLst>
          </p:cNvPr>
          <p:cNvSpPr txBox="1"/>
          <p:nvPr/>
        </p:nvSpPr>
        <p:spPr>
          <a:xfrm>
            <a:off x="7973921" y="1817928"/>
            <a:ext cx="3252796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Trebuchet MS" panose="020B0703020202090204" pitchFamily="34" charset="0"/>
              </a:rPr>
              <a:t>Too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SSH-tunne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 err="1">
                <a:latin typeface="Trebuchet MS" panose="020B0703020202090204" pitchFamily="34" charset="0"/>
              </a:rPr>
              <a:t>Netcat</a:t>
            </a:r>
            <a:r>
              <a:rPr lang="en-GB" sz="2000" dirty="0">
                <a:latin typeface="Trebuchet MS" panose="020B0703020202090204" pitchFamily="34" charset="0"/>
              </a:rPr>
              <a:t> </a:t>
            </a:r>
            <a:r>
              <a:rPr lang="en-GB" sz="2000" dirty="0" err="1">
                <a:latin typeface="Trebuchet MS" panose="020B0703020202090204" pitchFamily="34" charset="0"/>
              </a:rPr>
              <a:t>backpipe</a:t>
            </a:r>
            <a:endParaRPr lang="en-GB" sz="20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SOCKS prox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…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>
              <a:latin typeface="Trebuchet MS" panose="020B0703020202090204" pitchFamily="34" charset="0"/>
            </a:endParaRPr>
          </a:p>
          <a:p>
            <a:endParaRPr lang="en-GB" sz="20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>
              <a:latin typeface="Trebuchet MS" panose="020B0703020202090204" pitchFamily="34" charset="0"/>
            </a:endParaRPr>
          </a:p>
          <a:p>
            <a:r>
              <a:rPr lang="en-GB" sz="2000" dirty="0">
                <a:latin typeface="Trebuchet MS" panose="020B0703020202090204" pitchFamily="34" charset="0"/>
              </a:rPr>
              <a:t>Usually encrypted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79F402B-4A20-324A-9FF2-4DD692B820D2}"/>
              </a:ext>
            </a:extLst>
          </p:cNvPr>
          <p:cNvGrpSpPr/>
          <p:nvPr/>
        </p:nvGrpSpPr>
        <p:grpSpPr>
          <a:xfrm>
            <a:off x="11093982" y="-14990"/>
            <a:ext cx="1097280" cy="1054387"/>
            <a:chOff x="11093982" y="-14990"/>
            <a:chExt cx="1097280" cy="1054387"/>
          </a:xfrm>
        </p:grpSpPr>
        <p:sp>
          <p:nvSpPr>
            <p:cNvPr id="16" name="NavigationTriangle">
              <a:extLst>
                <a:ext uri="{FF2B5EF4-FFF2-40B4-BE49-F238E27FC236}">
                  <a16:creationId xmlns:a16="http://schemas.microsoft.com/office/drawing/2014/main" id="{0F5C8153-4D05-1D4F-8ACB-77AEF1E1964E}"/>
                </a:ext>
              </a:extLst>
            </p:cNvPr>
            <p:cNvSpPr/>
            <p:nvPr/>
          </p:nvSpPr>
          <p:spPr>
            <a:xfrm rot="16200000">
              <a:off x="11115428" y="-36436"/>
              <a:ext cx="1054387" cy="1097280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5" name="NavigationIcon">
              <a:extLst>
                <a:ext uri="{FF2B5EF4-FFF2-40B4-BE49-F238E27FC236}">
                  <a16:creationId xmlns:a16="http://schemas.microsoft.com/office/drawing/2014/main" id="{AC1E3A02-AF99-3E47-A940-46866CE179A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1698236" y="122285"/>
              <a:ext cx="365760" cy="365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/>
                <a:t>1</a:t>
              </a:r>
            </a:p>
          </p:txBody>
        </p:sp>
      </p:grpSp>
      <p:pic>
        <p:nvPicPr>
          <p:cNvPr id="47" name="Grafik 46" descr="Ein Bild, das Text enthält.&#10;&#10;Automatisch generierte Beschreibung">
            <a:extLst>
              <a:ext uri="{FF2B5EF4-FFF2-40B4-BE49-F238E27FC236}">
                <a16:creationId xmlns:a16="http://schemas.microsoft.com/office/drawing/2014/main" id="{6FDA29BE-3292-463D-96DB-9B14901BE2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3956719"/>
            <a:ext cx="5340559" cy="2536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45229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dirty="0">
                <a:latin typeface="Trebuchet MS" panose="020B0703020202090204" pitchFamily="34" charset="0"/>
                <a:cs typeface="Calibri Light"/>
              </a:rPr>
              <a:t>Stepping-stone detection</a:t>
            </a:r>
          </a:p>
        </p:txBody>
      </p:sp>
      <p:pic>
        <p:nvPicPr>
          <p:cNvPr id="3" name="Picture 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EE4D087-DB70-48EF-8583-F531882D7F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1309" y="5916050"/>
            <a:ext cx="2636575" cy="70799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5402393-FFAD-4674-B173-20ACF59F4BDF}"/>
              </a:ext>
            </a:extLst>
          </p:cNvPr>
          <p:cNvSpPr txBox="1"/>
          <p:nvPr/>
        </p:nvSpPr>
        <p:spPr>
          <a:xfrm>
            <a:off x="802250" y="1424236"/>
            <a:ext cx="5228102" cy="64606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50000"/>
              </a:lnSpc>
            </a:pPr>
            <a:r>
              <a:rPr lang="en-GB" sz="2000" dirty="0">
                <a:latin typeface="Trebuchet MS" panose="020B0703020202090204" pitchFamily="34" charset="0"/>
              </a:rPr>
              <a:t>Most common techniques: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Watermarking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Packet correlation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ML-based flow correlation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RTT-based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Anomaly-detection</a:t>
            </a:r>
          </a:p>
          <a:p>
            <a:pPr marL="342900" indent="-342900">
              <a:lnSpc>
                <a:spcPct val="200000"/>
              </a:lnSpc>
              <a:buFont typeface="Wingdings" pitchFamily="2" charset="2"/>
              <a:buChar char="§"/>
            </a:pPr>
            <a:endParaRPr lang="en-GB" sz="2000" dirty="0">
              <a:latin typeface="Trebuchet MS" panose="020B0703020202090204" pitchFamily="34" charset="0"/>
            </a:endParaRPr>
          </a:p>
          <a:p>
            <a:pPr marL="342900" indent="-342900">
              <a:lnSpc>
                <a:spcPct val="200000"/>
              </a:lnSpc>
              <a:buFont typeface="Wingdings" pitchFamily="2" charset="2"/>
              <a:buChar char="§"/>
            </a:pPr>
            <a:endParaRPr lang="en-GB" sz="2000" dirty="0">
              <a:latin typeface="Trebuchet MS" panose="020B0703020202090204" pitchFamily="34" charset="0"/>
            </a:endParaRPr>
          </a:p>
          <a:p>
            <a:pPr lvl="1">
              <a:lnSpc>
                <a:spcPct val="200000"/>
              </a:lnSpc>
            </a:pPr>
            <a:endParaRPr lang="en-GB" sz="2000" dirty="0">
              <a:latin typeface="Trebuchet MS" panose="020B0703020202090204" pitchFamily="34" charset="0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79F402B-4A20-324A-9FF2-4DD692B820D2}"/>
              </a:ext>
            </a:extLst>
          </p:cNvPr>
          <p:cNvGrpSpPr/>
          <p:nvPr/>
        </p:nvGrpSpPr>
        <p:grpSpPr>
          <a:xfrm>
            <a:off x="11093982" y="-14990"/>
            <a:ext cx="1097280" cy="1054387"/>
            <a:chOff x="11093982" y="-14990"/>
            <a:chExt cx="1097280" cy="1054387"/>
          </a:xfrm>
        </p:grpSpPr>
        <p:sp>
          <p:nvSpPr>
            <p:cNvPr id="16" name="NavigationTriangle">
              <a:extLst>
                <a:ext uri="{FF2B5EF4-FFF2-40B4-BE49-F238E27FC236}">
                  <a16:creationId xmlns:a16="http://schemas.microsoft.com/office/drawing/2014/main" id="{0F5C8153-4D05-1D4F-8ACB-77AEF1E1964E}"/>
                </a:ext>
              </a:extLst>
            </p:cNvPr>
            <p:cNvSpPr/>
            <p:nvPr/>
          </p:nvSpPr>
          <p:spPr>
            <a:xfrm rot="16200000">
              <a:off x="11115428" y="-36436"/>
              <a:ext cx="1054387" cy="1097280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5" name="NavigationIcon">
              <a:extLst>
                <a:ext uri="{FF2B5EF4-FFF2-40B4-BE49-F238E27FC236}">
                  <a16:creationId xmlns:a16="http://schemas.microsoft.com/office/drawing/2014/main" id="{AC1E3A02-AF99-3E47-A940-46866CE179A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1698236" y="122285"/>
              <a:ext cx="365760" cy="365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/>
                <a:t>1</a:t>
              </a:r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3191709D-0B9F-420C-AC7B-7326755DB7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57489" y="3376824"/>
            <a:ext cx="1975512" cy="121315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D23C10F-BC64-476B-855A-D84FB13904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57489" y="5114912"/>
            <a:ext cx="1727526" cy="137796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91B5FEA-127F-4774-9E38-409A5F31C0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33001" y="3283053"/>
            <a:ext cx="2131556" cy="1380229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9343FA3A-35F5-486E-9072-D57A504B6FF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28510" y="1604341"/>
            <a:ext cx="3106241" cy="121315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EE59AE1F-7C72-4EC8-ACE2-231806F3629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30905" y="1756838"/>
            <a:ext cx="2451414" cy="1023580"/>
          </a:xfrm>
          <a:prstGeom prst="rect">
            <a:avLst/>
          </a:prstGeom>
        </p:spPr>
      </p:pic>
      <p:sp>
        <p:nvSpPr>
          <p:cNvPr id="6" name="TextBox 8">
            <a:extLst>
              <a:ext uri="{FF2B5EF4-FFF2-40B4-BE49-F238E27FC236}">
                <a16:creationId xmlns:a16="http://schemas.microsoft.com/office/drawing/2014/main" id="{124FE92C-43BA-4B65-8BFF-DA78680256FD}"/>
              </a:ext>
            </a:extLst>
          </p:cNvPr>
          <p:cNvSpPr txBox="1"/>
          <p:nvPr/>
        </p:nvSpPr>
        <p:spPr>
          <a:xfrm>
            <a:off x="8893198" y="2983125"/>
            <a:ext cx="3252796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Trebuchet MS" panose="020B0703020202090204" pitchFamily="34" charset="0"/>
              </a:rPr>
              <a:t>Evasive techniqu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Chaff packe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Transfer delay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 err="1">
                <a:latin typeface="Trebuchet MS" panose="020B0703020202090204" pitchFamily="34" charset="0"/>
              </a:rPr>
              <a:t>Repacketisation</a:t>
            </a:r>
            <a:endParaRPr lang="en-GB" sz="20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Flow splitting</a:t>
            </a:r>
          </a:p>
          <a:p>
            <a:pPr lvl="1"/>
            <a:endParaRPr lang="en-GB" sz="2000" dirty="0">
              <a:latin typeface="Trebuchet MS" panose="020B0703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15301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8320791" cy="1325563"/>
          </a:xfrm>
        </p:spPr>
        <p:txBody>
          <a:bodyPr/>
          <a:lstStyle/>
          <a:p>
            <a:r>
              <a:rPr lang="en-US" sz="4000" dirty="0">
                <a:latin typeface="Trebuchet MS" panose="020B0703020202090204" pitchFamily="34" charset="0"/>
              </a:rPr>
              <a:t>Evaluation data</a:t>
            </a:r>
            <a:endParaRPr lang="en-US" dirty="0">
              <a:latin typeface="Trebuchet MS" panose="020B0703020202090204" pitchFamily="34" charset="0"/>
              <a:cs typeface="Calibri Light"/>
            </a:endParaRPr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36A558D7-BBF3-3842-A595-122FBA174F4D}"/>
              </a:ext>
            </a:extLst>
          </p:cNvPr>
          <p:cNvGrpSpPr/>
          <p:nvPr/>
        </p:nvGrpSpPr>
        <p:grpSpPr>
          <a:xfrm>
            <a:off x="11093982" y="-14990"/>
            <a:ext cx="1097280" cy="1054387"/>
            <a:chOff x="11093982" y="-14990"/>
            <a:chExt cx="1097280" cy="1054387"/>
          </a:xfrm>
        </p:grpSpPr>
        <p:sp>
          <p:nvSpPr>
            <p:cNvPr id="90" name="NavigationTriangle">
              <a:extLst>
                <a:ext uri="{FF2B5EF4-FFF2-40B4-BE49-F238E27FC236}">
                  <a16:creationId xmlns:a16="http://schemas.microsoft.com/office/drawing/2014/main" id="{75CC37CB-0FDB-9C4D-B950-F045669F9AB9}"/>
                </a:ext>
              </a:extLst>
            </p:cNvPr>
            <p:cNvSpPr/>
            <p:nvPr/>
          </p:nvSpPr>
          <p:spPr>
            <a:xfrm rot="16200000">
              <a:off x="11115428" y="-36436"/>
              <a:ext cx="1054387" cy="1097280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91" name="NavigationIcon">
              <a:extLst>
                <a:ext uri="{FF2B5EF4-FFF2-40B4-BE49-F238E27FC236}">
                  <a16:creationId xmlns:a16="http://schemas.microsoft.com/office/drawing/2014/main" id="{248BB64A-2681-154D-A068-C8F7AB78918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1698236" y="122285"/>
              <a:ext cx="365760" cy="365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/>
                <a:t>2</a:t>
              </a:r>
            </a:p>
          </p:txBody>
        </p:sp>
      </p:grp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3" name="Tabelle 3">
                <a:extLst>
                  <a:ext uri="{FF2B5EF4-FFF2-40B4-BE49-F238E27FC236}">
                    <a16:creationId xmlns:a16="http://schemas.microsoft.com/office/drawing/2014/main" id="{0069CFAF-3BC9-498F-8343-54788BE01500}"/>
                  </a:ext>
                </a:extLst>
              </p:cNvPr>
              <p:cNvGraphicFramePr>
                <a:graphicFrameLocks noGrp="1"/>
              </p:cNvGraphicFramePr>
              <p:nvPr/>
            </p:nvGraphicFramePr>
            <p:xfrm>
              <a:off x="1728484" y="2963310"/>
              <a:ext cx="7524749" cy="29667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1609725">
                      <a:extLst>
                        <a:ext uri="{9D8B030D-6E8A-4147-A177-3AD203B41FA5}">
                          <a16:colId xmlns:a16="http://schemas.microsoft.com/office/drawing/2014/main" val="3344780549"/>
                        </a:ext>
                      </a:extLst>
                    </a:gridCol>
                    <a:gridCol w="1019175">
                      <a:extLst>
                        <a:ext uri="{9D8B030D-6E8A-4147-A177-3AD203B41FA5}">
                          <a16:colId xmlns:a16="http://schemas.microsoft.com/office/drawing/2014/main" val="458142013"/>
                        </a:ext>
                      </a:extLst>
                    </a:gridCol>
                    <a:gridCol w="1232446">
                      <a:extLst>
                        <a:ext uri="{9D8B030D-6E8A-4147-A177-3AD203B41FA5}">
                          <a16:colId xmlns:a16="http://schemas.microsoft.com/office/drawing/2014/main" val="2827315632"/>
                        </a:ext>
                      </a:extLst>
                    </a:gridCol>
                    <a:gridCol w="3663403">
                      <a:extLst>
                        <a:ext uri="{9D8B030D-6E8A-4147-A177-3AD203B41FA5}">
                          <a16:colId xmlns:a16="http://schemas.microsoft.com/office/drawing/2014/main" val="1280676858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Label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#conn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purpose</a:t>
                          </a:r>
                          <a:endParaRPr lang="de-DE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819304717"/>
                      </a:ext>
                    </a:extLst>
                  </a:tr>
                  <a:tr h="370840">
                    <a:tc rowSpan="4">
                      <a:txBody>
                        <a:bodyPr/>
                        <a:lstStyle/>
                        <a:p>
                          <a:pPr algn="ctr"/>
                          <a:endParaRPr lang="de-DE" dirty="0"/>
                        </a:p>
                        <a:p>
                          <a:pPr algn="ctr"/>
                          <a:endParaRPr lang="de-DE" dirty="0"/>
                        </a:p>
                        <a:p>
                          <a:pPr algn="ctr"/>
                          <a:r>
                            <a:rPr lang="de-DE" dirty="0"/>
                            <a:t>SS </a:t>
                          </a:r>
                          <a:r>
                            <a:rPr lang="de-DE" dirty="0" err="1"/>
                            <a:t>data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BA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30,000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Baseline </a:t>
                          </a:r>
                          <a:r>
                            <a:rPr lang="de-DE" dirty="0" err="1"/>
                            <a:t>attack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741451465"/>
                      </a:ext>
                    </a:extLst>
                  </a:tr>
                  <a:tr h="370840">
                    <a:tc vMerge="1"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DA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30,000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Delays </a:t>
                          </a:r>
                          <a:r>
                            <a:rPr lang="de-DE" dirty="0" err="1"/>
                            <a:t>with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varying</a:t>
                          </a:r>
                          <a:r>
                            <a:rPr lang="de-DE" dirty="0"/>
                            <a:t> 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de-DE" b="0" i="0" smtClean="0">
                                      <a:latin typeface="Cambria Math" panose="02040503050406030204" pitchFamily="18" charset="0"/>
                                    </a:rPr>
                                    <m:t>D</m:t>
                                  </m:r>
                                </m:sub>
                              </m:sSub>
                            </m:oMath>
                          </a14:m>
                          <a:endParaRPr lang="de-DE" dirty="0"/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236196434"/>
                      </a:ext>
                    </a:extLst>
                  </a:tr>
                  <a:tr h="370840">
                    <a:tc vMerge="1"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CA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30,000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Chaff </a:t>
                          </a:r>
                          <a:r>
                            <a:rPr lang="de-DE" dirty="0" err="1"/>
                            <a:t>with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varying</a:t>
                          </a:r>
                          <a:r>
                            <a:rPr lang="de-DE" dirty="0"/>
                            <a:t> 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de-DE" b="0" i="0" smtClean="0">
                                      <a:latin typeface="Cambria Math" panose="02040503050406030204" pitchFamily="18" charset="0"/>
                                    </a:rPr>
                                    <m:t>C</m:t>
                                  </m:r>
                                </m:sub>
                              </m:sSub>
                            </m:oMath>
                          </a14:m>
                          <a:endParaRPr lang="de-DE" dirty="0"/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525216204"/>
                      </a:ext>
                    </a:extLst>
                  </a:tr>
                  <a:tr h="370840">
                    <a:tc vMerge="1">
                      <a:txBody>
                        <a:bodyPr/>
                        <a:lstStyle/>
                        <a:p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CL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/>
                            <a:t>4,000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Varying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chain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length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532845220"/>
                      </a:ext>
                    </a:extLst>
                  </a:tr>
                  <a:tr h="370840">
                    <a:tc rowSpan="3">
                      <a:txBody>
                        <a:bodyPr/>
                        <a:lstStyle/>
                        <a:p>
                          <a:pPr algn="ctr"/>
                          <a:endParaRPr lang="de-DE" dirty="0"/>
                        </a:p>
                        <a:p>
                          <a:pPr algn="ctr"/>
                          <a:r>
                            <a:rPr lang="de-DE" dirty="0"/>
                            <a:t>Background </a:t>
                          </a:r>
                          <a:r>
                            <a:rPr lang="de-DE" dirty="0" err="1"/>
                            <a:t>data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CAIDA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60.000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General </a:t>
                          </a:r>
                          <a:r>
                            <a:rPr lang="de-DE" dirty="0" err="1"/>
                            <a:t>background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598850813"/>
                      </a:ext>
                    </a:extLst>
                  </a:tr>
                  <a:tr h="370840">
                    <a:tc vMerge="1">
                      <a:txBody>
                        <a:bodyPr/>
                        <a:lstStyle/>
                        <a:p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SSH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20.000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Similar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to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attack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commands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24078905"/>
                      </a:ext>
                    </a:extLst>
                  </a:tr>
                  <a:tr h="370840">
                    <a:tc vMerge="1">
                      <a:txBody>
                        <a:bodyPr/>
                        <a:lstStyle/>
                        <a:p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Multim</a:t>
                          </a:r>
                          <a:r>
                            <a:rPr lang="de-DE" dirty="0"/>
                            <a:t>.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20.000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Similar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to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chaff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pert</a:t>
                          </a:r>
                          <a:r>
                            <a:rPr lang="de-DE" dirty="0"/>
                            <a:t>.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611260349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3" name="Tabelle 3">
                <a:extLst>
                  <a:ext uri="{FF2B5EF4-FFF2-40B4-BE49-F238E27FC236}">
                    <a16:creationId xmlns:a16="http://schemas.microsoft.com/office/drawing/2014/main" id="{0069CFAF-3BC9-498F-8343-54788BE01500}"/>
                  </a:ext>
                </a:extLst>
              </p:cNvPr>
              <p:cNvGraphicFramePr>
                <a:graphicFrameLocks noGrp="1"/>
              </p:cNvGraphicFramePr>
              <p:nvPr/>
            </p:nvGraphicFramePr>
            <p:xfrm>
              <a:off x="1728484" y="2963310"/>
              <a:ext cx="7524749" cy="29667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1609725">
                      <a:extLst>
                        <a:ext uri="{9D8B030D-6E8A-4147-A177-3AD203B41FA5}">
                          <a16:colId xmlns:a16="http://schemas.microsoft.com/office/drawing/2014/main" val="3344780549"/>
                        </a:ext>
                      </a:extLst>
                    </a:gridCol>
                    <a:gridCol w="1019175">
                      <a:extLst>
                        <a:ext uri="{9D8B030D-6E8A-4147-A177-3AD203B41FA5}">
                          <a16:colId xmlns:a16="http://schemas.microsoft.com/office/drawing/2014/main" val="458142013"/>
                        </a:ext>
                      </a:extLst>
                    </a:gridCol>
                    <a:gridCol w="1232446">
                      <a:extLst>
                        <a:ext uri="{9D8B030D-6E8A-4147-A177-3AD203B41FA5}">
                          <a16:colId xmlns:a16="http://schemas.microsoft.com/office/drawing/2014/main" val="2827315632"/>
                        </a:ext>
                      </a:extLst>
                    </a:gridCol>
                    <a:gridCol w="3663403">
                      <a:extLst>
                        <a:ext uri="{9D8B030D-6E8A-4147-A177-3AD203B41FA5}">
                          <a16:colId xmlns:a16="http://schemas.microsoft.com/office/drawing/2014/main" val="1280676858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Label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#conn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purpose</a:t>
                          </a:r>
                          <a:endParaRPr lang="de-DE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819304717"/>
                      </a:ext>
                    </a:extLst>
                  </a:tr>
                  <a:tr h="370840">
                    <a:tc rowSpan="4">
                      <a:txBody>
                        <a:bodyPr/>
                        <a:lstStyle/>
                        <a:p>
                          <a:pPr algn="ctr"/>
                          <a:endParaRPr lang="de-DE" dirty="0"/>
                        </a:p>
                        <a:p>
                          <a:pPr algn="ctr"/>
                          <a:endParaRPr lang="de-DE" dirty="0"/>
                        </a:p>
                        <a:p>
                          <a:pPr algn="ctr"/>
                          <a:r>
                            <a:rPr lang="de-DE" dirty="0"/>
                            <a:t>SS </a:t>
                          </a:r>
                          <a:r>
                            <a:rPr lang="de-DE" dirty="0" err="1"/>
                            <a:t>data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BA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30,000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Baseline </a:t>
                          </a:r>
                          <a:r>
                            <a:rPr lang="de-DE" dirty="0" err="1"/>
                            <a:t>attack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741451465"/>
                      </a:ext>
                    </a:extLst>
                  </a:tr>
                  <a:tr h="370840">
                    <a:tc vMerge="1"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DA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30,000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>
                        <a:blipFill>
                          <a:blip r:embed="rId4"/>
                          <a:stretch>
                            <a:fillRect l="-105657" t="-209836" r="-499" b="-521311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4236196434"/>
                      </a:ext>
                    </a:extLst>
                  </a:tr>
                  <a:tr h="370840">
                    <a:tc vMerge="1"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CA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30,000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>
                        <a:blipFill>
                          <a:blip r:embed="rId4"/>
                          <a:stretch>
                            <a:fillRect l="-105657" t="-309836" r="-499" b="-421311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525216204"/>
                      </a:ext>
                    </a:extLst>
                  </a:tr>
                  <a:tr h="370840">
                    <a:tc vMerge="1">
                      <a:txBody>
                        <a:bodyPr/>
                        <a:lstStyle/>
                        <a:p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CL</a:t>
                          </a:r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/>
                            <a:t>4,000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Varying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chain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length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532845220"/>
                      </a:ext>
                    </a:extLst>
                  </a:tr>
                  <a:tr h="370840">
                    <a:tc rowSpan="3">
                      <a:txBody>
                        <a:bodyPr/>
                        <a:lstStyle/>
                        <a:p>
                          <a:pPr algn="ctr"/>
                          <a:endParaRPr lang="de-DE" dirty="0"/>
                        </a:p>
                        <a:p>
                          <a:pPr algn="ctr"/>
                          <a:r>
                            <a:rPr lang="de-DE" dirty="0"/>
                            <a:t>Background </a:t>
                          </a:r>
                          <a:r>
                            <a:rPr lang="de-DE" dirty="0" err="1"/>
                            <a:t>data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CAIDA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60.000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General </a:t>
                          </a:r>
                          <a:r>
                            <a:rPr lang="de-DE" dirty="0" err="1"/>
                            <a:t>background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598850813"/>
                      </a:ext>
                    </a:extLst>
                  </a:tr>
                  <a:tr h="370840">
                    <a:tc vMerge="1">
                      <a:txBody>
                        <a:bodyPr/>
                        <a:lstStyle/>
                        <a:p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SSH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20.000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Similar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to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attack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commands</a:t>
                          </a:r>
                          <a:endParaRPr lang="de-DE" dirty="0"/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24078905"/>
                      </a:ext>
                    </a:extLst>
                  </a:tr>
                  <a:tr h="370840">
                    <a:tc vMerge="1">
                      <a:txBody>
                        <a:bodyPr/>
                        <a:lstStyle/>
                        <a:p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Multim</a:t>
                          </a:r>
                          <a:r>
                            <a:rPr lang="de-DE" dirty="0"/>
                            <a:t>.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20.000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Similar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to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chaff</a:t>
                          </a:r>
                          <a:r>
                            <a:rPr lang="de-DE" dirty="0"/>
                            <a:t> </a:t>
                          </a:r>
                          <a:r>
                            <a:rPr lang="de-DE" dirty="0" err="1"/>
                            <a:t>pert</a:t>
                          </a:r>
                          <a:r>
                            <a:rPr lang="de-DE" dirty="0"/>
                            <a:t>.</a:t>
                          </a:r>
                        </a:p>
                      </a:txBody>
                      <a:tcPr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611260349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8">
                <a:extLst>
                  <a:ext uri="{FF2B5EF4-FFF2-40B4-BE49-F238E27FC236}">
                    <a16:creationId xmlns:a16="http://schemas.microsoft.com/office/drawing/2014/main" id="{AE29407D-669B-48C2-BCE9-8F873489AED0}"/>
                  </a:ext>
                </a:extLst>
              </p:cNvPr>
              <p:cNvSpPr txBox="1"/>
              <p:nvPr/>
            </p:nvSpPr>
            <p:spPr>
              <a:xfrm>
                <a:off x="1378288" y="1690688"/>
                <a:ext cx="5515127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400" dirty="0">
                    <a:latin typeface="Trebuchet MS" panose="020B0703020202090204" pitchFamily="34" charset="0"/>
                  </a:rPr>
                  <a:t>Connection pairs fr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de-DE" sz="2400" b="0" i="0" smtClean="0">
                            <a:latin typeface="Cambria Math" panose="02040503050406030204" pitchFamily="18" charset="0"/>
                          </a:rPr>
                          <m:t>S</m:t>
                        </m:r>
                      </m:e>
                      <m:sub>
                        <m:r>
                          <a:rPr lang="de-DE" sz="2400" b="0" i="1" smtClean="0">
                            <a:latin typeface="Cambria Math" panose="02040503050406030204" pitchFamily="18" charset="0"/>
                          </a:rPr>
                          <m:t>𝑁</m:t>
                        </m:r>
                      </m:sub>
                    </m:sSub>
                  </m:oMath>
                </a14:m>
                <a:endParaRPr lang="en-US" sz="2400" dirty="0">
                  <a:latin typeface="Trebuchet MS" panose="020B0703020202090204" pitchFamily="34" charset="0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US" sz="2400" dirty="0">
                    <a:latin typeface="Trebuchet MS" panose="020B0703020202090204" pitchFamily="34" charset="0"/>
                  </a:rPr>
                  <a:t>1,400 packets</a:t>
                </a:r>
              </a:p>
            </p:txBody>
          </p:sp>
        </mc:Choice>
        <mc:Fallback xmlns="">
          <p:sp>
            <p:nvSpPr>
              <p:cNvPr id="4" name="TextBox 8">
                <a:extLst>
                  <a:ext uri="{FF2B5EF4-FFF2-40B4-BE49-F238E27FC236}">
                    <a16:creationId xmlns:a16="http://schemas.microsoft.com/office/drawing/2014/main" id="{AE29407D-669B-48C2-BCE9-8F873489AED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78288" y="1690688"/>
                <a:ext cx="5515127" cy="830997"/>
              </a:xfrm>
              <a:prstGeom prst="rect">
                <a:avLst/>
              </a:prstGeom>
              <a:blipFill>
                <a:blip r:embed="rId5"/>
                <a:stretch>
                  <a:fillRect l="-1657" t="-5839" b="-153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1591922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dirty="0">
                <a:latin typeface="Trebuchet MS" panose="020B0703020202090204" pitchFamily="34" charset="0"/>
                <a:cs typeface="Calibri Light"/>
              </a:rPr>
              <a:t>Stepping-stone detection</a:t>
            </a:r>
          </a:p>
        </p:txBody>
      </p:sp>
      <p:pic>
        <p:nvPicPr>
          <p:cNvPr id="3" name="Picture 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EE4D087-DB70-48EF-8583-F531882D7F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1309" y="5916050"/>
            <a:ext cx="2636575" cy="70799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5402393-FFAD-4674-B173-20ACF59F4BDF}"/>
              </a:ext>
            </a:extLst>
          </p:cNvPr>
          <p:cNvSpPr txBox="1"/>
          <p:nvPr/>
        </p:nvSpPr>
        <p:spPr>
          <a:xfrm>
            <a:off x="838200" y="1701556"/>
            <a:ext cx="5228102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Sensor records incoming and outgoing connection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Measure correlation between pairs</a:t>
            </a:r>
          </a:p>
          <a:p>
            <a:endParaRPr lang="en-GB" sz="2000" dirty="0">
              <a:latin typeface="Trebuchet MS" panose="020B0703020202090204" pitchFamily="34" charset="0"/>
            </a:endParaRPr>
          </a:p>
          <a:p>
            <a:pPr marL="342900" indent="-342900">
              <a:buFont typeface="Wingdings" pitchFamily="2" charset="2"/>
              <a:buChar char="§"/>
            </a:pPr>
            <a:endParaRPr lang="en-GB" sz="2000" dirty="0">
              <a:latin typeface="Trebuchet MS" panose="020B0703020202090204" pitchFamily="34" charset="0"/>
            </a:endParaRPr>
          </a:p>
          <a:p>
            <a:pPr lvl="1"/>
            <a:endParaRPr lang="en-GB" sz="2000" dirty="0">
              <a:latin typeface="Trebuchet MS" panose="020B0703020202090204" pitchFamily="34" charset="0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79F402B-4A20-324A-9FF2-4DD692B820D2}"/>
              </a:ext>
            </a:extLst>
          </p:cNvPr>
          <p:cNvGrpSpPr/>
          <p:nvPr/>
        </p:nvGrpSpPr>
        <p:grpSpPr>
          <a:xfrm>
            <a:off x="11093982" y="-14990"/>
            <a:ext cx="1097280" cy="1054387"/>
            <a:chOff x="11093982" y="-14990"/>
            <a:chExt cx="1097280" cy="1054387"/>
          </a:xfrm>
        </p:grpSpPr>
        <p:sp>
          <p:nvSpPr>
            <p:cNvPr id="16" name="NavigationTriangle">
              <a:extLst>
                <a:ext uri="{FF2B5EF4-FFF2-40B4-BE49-F238E27FC236}">
                  <a16:creationId xmlns:a16="http://schemas.microsoft.com/office/drawing/2014/main" id="{0F5C8153-4D05-1D4F-8ACB-77AEF1E1964E}"/>
                </a:ext>
              </a:extLst>
            </p:cNvPr>
            <p:cNvSpPr/>
            <p:nvPr/>
          </p:nvSpPr>
          <p:spPr>
            <a:xfrm rot="16200000">
              <a:off x="11115428" y="-36436"/>
              <a:ext cx="1054387" cy="1097280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5" name="NavigationIcon">
              <a:extLst>
                <a:ext uri="{FF2B5EF4-FFF2-40B4-BE49-F238E27FC236}">
                  <a16:creationId xmlns:a16="http://schemas.microsoft.com/office/drawing/2014/main" id="{AC1E3A02-AF99-3E47-A940-46866CE179A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1698236" y="122285"/>
              <a:ext cx="365760" cy="365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/>
                <a:t>1</a:t>
              </a:r>
            </a:p>
          </p:txBody>
        </p:sp>
      </p:grp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AF954B68-31B2-4021-8D71-168A328C44B8}"/>
              </a:ext>
            </a:extLst>
          </p:cNvPr>
          <p:cNvSpPr/>
          <p:nvPr/>
        </p:nvSpPr>
        <p:spPr>
          <a:xfrm>
            <a:off x="838200" y="3429000"/>
            <a:ext cx="4463689" cy="2981190"/>
          </a:xfrm>
          <a:prstGeom prst="roundRect">
            <a:avLst/>
          </a:prstGeom>
          <a:noFill/>
          <a:ln w="285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1">
                <a:extLst>
                  <a:ext uri="{FF2B5EF4-FFF2-40B4-BE49-F238E27FC236}">
                    <a16:creationId xmlns:a16="http://schemas.microsoft.com/office/drawing/2014/main" id="{40B6D454-60CB-427D-A839-5B3FE293EE28}"/>
                  </a:ext>
                </a:extLst>
              </p:cNvPr>
              <p:cNvSpPr txBox="1"/>
              <p:nvPr/>
            </p:nvSpPr>
            <p:spPr>
              <a:xfrm>
                <a:off x="1770530" y="5621406"/>
                <a:ext cx="606383" cy="461665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GB" sz="2400" dirty="0"/>
              </a:p>
            </p:txBody>
          </p:sp>
        </mc:Choice>
        <mc:Fallback xmlns="">
          <p:sp>
            <p:nvSpPr>
              <p:cNvPr id="13" name="TextBox 11">
                <a:extLst>
                  <a:ext uri="{FF2B5EF4-FFF2-40B4-BE49-F238E27FC236}">
                    <a16:creationId xmlns:a16="http://schemas.microsoft.com/office/drawing/2014/main" id="{40B6D454-60CB-427D-A839-5B3FE293EE2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70530" y="5621406"/>
                <a:ext cx="606383" cy="46166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11">
                <a:extLst>
                  <a:ext uri="{FF2B5EF4-FFF2-40B4-BE49-F238E27FC236}">
                    <a16:creationId xmlns:a16="http://schemas.microsoft.com/office/drawing/2014/main" id="{D11993F7-2EFD-4136-BA6D-3ADFA1AA5093}"/>
                  </a:ext>
                </a:extLst>
              </p:cNvPr>
              <p:cNvSpPr txBox="1"/>
              <p:nvPr/>
            </p:nvSpPr>
            <p:spPr>
              <a:xfrm>
                <a:off x="3561742" y="5621406"/>
                <a:ext cx="658834" cy="461665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sub>
                      </m:sSub>
                    </m:oMath>
                  </m:oMathPara>
                </a14:m>
                <a:endParaRPr lang="en-GB" sz="2400" dirty="0"/>
              </a:p>
            </p:txBody>
          </p:sp>
        </mc:Choice>
        <mc:Fallback xmlns="">
          <p:sp>
            <p:nvSpPr>
              <p:cNvPr id="23" name="TextBox 11">
                <a:extLst>
                  <a:ext uri="{FF2B5EF4-FFF2-40B4-BE49-F238E27FC236}">
                    <a16:creationId xmlns:a16="http://schemas.microsoft.com/office/drawing/2014/main" id="{D11993F7-2EFD-4136-BA6D-3ADFA1AA50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61742" y="5621406"/>
                <a:ext cx="658834" cy="461665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CDE8BCB9-A1A9-4586-ACF7-05BD57FB1122}"/>
              </a:ext>
            </a:extLst>
          </p:cNvPr>
          <p:cNvCxnSpPr>
            <a:cxnSpLocks/>
          </p:cNvCxnSpPr>
          <p:nvPr/>
        </p:nvCxnSpPr>
        <p:spPr>
          <a:xfrm>
            <a:off x="1195190" y="5838850"/>
            <a:ext cx="575340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0E9886A2-87B9-4AC1-86AB-689C3A92D86C}"/>
              </a:ext>
            </a:extLst>
          </p:cNvPr>
          <p:cNvCxnSpPr>
            <a:cxnSpLocks/>
          </p:cNvCxnSpPr>
          <p:nvPr/>
        </p:nvCxnSpPr>
        <p:spPr>
          <a:xfrm>
            <a:off x="2381837" y="5838850"/>
            <a:ext cx="32825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A2AE1B19-AFB1-4B62-97E9-707593BFA14C}"/>
              </a:ext>
            </a:extLst>
          </p:cNvPr>
          <p:cNvCxnSpPr>
            <a:cxnSpLocks/>
          </p:cNvCxnSpPr>
          <p:nvPr/>
        </p:nvCxnSpPr>
        <p:spPr>
          <a:xfrm>
            <a:off x="3225423" y="5838850"/>
            <a:ext cx="32825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feld 37">
            <a:extLst>
              <a:ext uri="{FF2B5EF4-FFF2-40B4-BE49-F238E27FC236}">
                <a16:creationId xmlns:a16="http://schemas.microsoft.com/office/drawing/2014/main" id="{EC0C8FBA-89A9-437E-97AA-EFCF801FF675}"/>
              </a:ext>
            </a:extLst>
          </p:cNvPr>
          <p:cNvSpPr txBox="1"/>
          <p:nvPr/>
        </p:nvSpPr>
        <p:spPr>
          <a:xfrm>
            <a:off x="2766185" y="5480643"/>
            <a:ext cx="4283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latin typeface="+mj-lt"/>
              </a:rPr>
              <a:t>…</a:t>
            </a: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464D612A-0DAE-42BE-9C50-F0C932819140}"/>
              </a:ext>
            </a:extLst>
          </p:cNvPr>
          <p:cNvCxnSpPr>
            <a:cxnSpLocks/>
          </p:cNvCxnSpPr>
          <p:nvPr/>
        </p:nvCxnSpPr>
        <p:spPr>
          <a:xfrm>
            <a:off x="4222699" y="5838850"/>
            <a:ext cx="575340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fik 5" descr="Server">
            <a:extLst>
              <a:ext uri="{FF2B5EF4-FFF2-40B4-BE49-F238E27FC236}">
                <a16:creationId xmlns:a16="http://schemas.microsoft.com/office/drawing/2014/main" id="{5987BCC1-65AF-404C-8FAA-C158B4B558C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650929" y="4744899"/>
            <a:ext cx="658834" cy="658834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Box 11">
                <a:extLst>
                  <a:ext uri="{FF2B5EF4-FFF2-40B4-BE49-F238E27FC236}">
                    <a16:creationId xmlns:a16="http://schemas.microsoft.com/office/drawing/2014/main" id="{474DF621-E192-4DBD-A76C-D7B15B9901FD}"/>
                  </a:ext>
                </a:extLst>
              </p:cNvPr>
              <p:cNvSpPr txBox="1"/>
              <p:nvPr/>
            </p:nvSpPr>
            <p:spPr>
              <a:xfrm>
                <a:off x="1688380" y="3885515"/>
                <a:ext cx="366918" cy="461665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400" b="0" i="1" dirty="0" smtClean="0">
                          <a:latin typeface="Cambria Math" panose="02040503050406030204" pitchFamily="18" charset="0"/>
                        </a:rPr>
                        <m:t>  </m:t>
                      </m:r>
                      <m:r>
                        <a:rPr lang="de-DE" sz="2400" b="0" i="1" dirty="0" smtClean="0">
                          <a:latin typeface="Cambria Math" panose="02040503050406030204" pitchFamily="18" charset="0"/>
                        </a:rPr>
                        <m:t>𝐻</m:t>
                      </m:r>
                    </m:oMath>
                  </m:oMathPara>
                </a14:m>
                <a:endParaRPr lang="en-GB" sz="2400" dirty="0"/>
              </a:p>
            </p:txBody>
          </p:sp>
        </mc:Choice>
        <mc:Fallback xmlns="">
          <p:sp>
            <p:nvSpPr>
              <p:cNvPr id="42" name="TextBox 11">
                <a:extLst>
                  <a:ext uri="{FF2B5EF4-FFF2-40B4-BE49-F238E27FC236}">
                    <a16:creationId xmlns:a16="http://schemas.microsoft.com/office/drawing/2014/main" id="{474DF621-E192-4DBD-A76C-D7B15B9901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88380" y="3885515"/>
                <a:ext cx="366918" cy="461665"/>
              </a:xfrm>
              <a:prstGeom prst="rect">
                <a:avLst/>
              </a:prstGeom>
              <a:blipFill>
                <a:blip r:embed="rId9"/>
                <a:stretch>
                  <a:fillRect l="-9231" r="-7692"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4ADDC58B-0666-4390-A41F-6E6F41214B2C}"/>
              </a:ext>
            </a:extLst>
          </p:cNvPr>
          <p:cNvCxnSpPr>
            <a:cxnSpLocks/>
          </p:cNvCxnSpPr>
          <p:nvPr/>
        </p:nvCxnSpPr>
        <p:spPr>
          <a:xfrm>
            <a:off x="1219818" y="3872092"/>
            <a:ext cx="479625" cy="21356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D083746B-4B02-44A8-93E1-BB3529C5DB76}"/>
              </a:ext>
            </a:extLst>
          </p:cNvPr>
          <p:cNvCxnSpPr>
            <a:cxnSpLocks/>
          </p:cNvCxnSpPr>
          <p:nvPr/>
        </p:nvCxnSpPr>
        <p:spPr>
          <a:xfrm>
            <a:off x="2063365" y="4152924"/>
            <a:ext cx="366918" cy="14425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DC4C0D8B-A27C-49BA-B4A6-87B41C867967}"/>
              </a:ext>
            </a:extLst>
          </p:cNvPr>
          <p:cNvCxnSpPr>
            <a:cxnSpLocks/>
          </p:cNvCxnSpPr>
          <p:nvPr/>
        </p:nvCxnSpPr>
        <p:spPr>
          <a:xfrm flipV="1">
            <a:off x="1219818" y="4152924"/>
            <a:ext cx="489353" cy="18083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C15E09D4-C562-49D8-B809-1697369DCC12}"/>
              </a:ext>
            </a:extLst>
          </p:cNvPr>
          <p:cNvCxnSpPr>
            <a:cxnSpLocks/>
          </p:cNvCxnSpPr>
          <p:nvPr/>
        </p:nvCxnSpPr>
        <p:spPr>
          <a:xfrm flipV="1">
            <a:off x="2063365" y="3885515"/>
            <a:ext cx="366918" cy="18408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2" name="TextBox 11">
                <a:extLst>
                  <a:ext uri="{FF2B5EF4-FFF2-40B4-BE49-F238E27FC236}">
                    <a16:creationId xmlns:a16="http://schemas.microsoft.com/office/drawing/2014/main" id="{DAB2AE22-890B-4885-8B5F-9E4A56C1217B}"/>
                  </a:ext>
                </a:extLst>
              </p:cNvPr>
              <p:cNvSpPr txBox="1"/>
              <p:nvPr/>
            </p:nvSpPr>
            <p:spPr>
              <a:xfrm>
                <a:off x="4173455" y="4250239"/>
                <a:ext cx="366918" cy="461665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400" b="0" i="1" dirty="0" smtClean="0">
                          <a:latin typeface="Cambria Math" panose="02040503050406030204" pitchFamily="18" charset="0"/>
                        </a:rPr>
                        <m:t>  </m:t>
                      </m:r>
                      <m:r>
                        <a:rPr lang="de-DE" sz="2400" b="0" i="1" dirty="0" smtClean="0">
                          <a:latin typeface="Cambria Math" panose="02040503050406030204" pitchFamily="18" charset="0"/>
                        </a:rPr>
                        <m:t>𝐻</m:t>
                      </m:r>
                    </m:oMath>
                  </m:oMathPara>
                </a14:m>
                <a:endParaRPr lang="en-GB" sz="2400" dirty="0"/>
              </a:p>
            </p:txBody>
          </p:sp>
        </mc:Choice>
        <mc:Fallback xmlns="">
          <p:sp>
            <p:nvSpPr>
              <p:cNvPr id="62" name="TextBox 11">
                <a:extLst>
                  <a:ext uri="{FF2B5EF4-FFF2-40B4-BE49-F238E27FC236}">
                    <a16:creationId xmlns:a16="http://schemas.microsoft.com/office/drawing/2014/main" id="{DAB2AE22-890B-4885-8B5F-9E4A56C121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73455" y="4250239"/>
                <a:ext cx="366918" cy="461665"/>
              </a:xfrm>
              <a:prstGeom prst="rect">
                <a:avLst/>
              </a:prstGeom>
              <a:blipFill>
                <a:blip r:embed="rId10"/>
                <a:stretch>
                  <a:fillRect l="-10769" r="-7692"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30D5CCF6-42DF-4ACC-8669-362E2D84A73F}"/>
              </a:ext>
            </a:extLst>
          </p:cNvPr>
          <p:cNvCxnSpPr>
            <a:cxnSpLocks/>
          </p:cNvCxnSpPr>
          <p:nvPr/>
        </p:nvCxnSpPr>
        <p:spPr>
          <a:xfrm>
            <a:off x="3704893" y="4236816"/>
            <a:ext cx="479625" cy="21356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2E11044F-E9A8-4F8A-AEA7-B5DA101F46F5}"/>
              </a:ext>
            </a:extLst>
          </p:cNvPr>
          <p:cNvCxnSpPr>
            <a:cxnSpLocks/>
          </p:cNvCxnSpPr>
          <p:nvPr/>
        </p:nvCxnSpPr>
        <p:spPr>
          <a:xfrm>
            <a:off x="4548440" y="4517648"/>
            <a:ext cx="366918" cy="14425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BD3E8F0D-4CF7-4907-9585-D396C2DF657B}"/>
              </a:ext>
            </a:extLst>
          </p:cNvPr>
          <p:cNvCxnSpPr>
            <a:cxnSpLocks/>
          </p:cNvCxnSpPr>
          <p:nvPr/>
        </p:nvCxnSpPr>
        <p:spPr>
          <a:xfrm flipV="1">
            <a:off x="3704893" y="4517648"/>
            <a:ext cx="489353" cy="18083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9ABCA186-7894-4B3C-AC9C-FD48790786D1}"/>
              </a:ext>
            </a:extLst>
          </p:cNvPr>
          <p:cNvCxnSpPr>
            <a:cxnSpLocks/>
          </p:cNvCxnSpPr>
          <p:nvPr/>
        </p:nvCxnSpPr>
        <p:spPr>
          <a:xfrm flipV="1">
            <a:off x="4548440" y="4250239"/>
            <a:ext cx="366918" cy="18408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feld 69">
            <a:extLst>
              <a:ext uri="{FF2B5EF4-FFF2-40B4-BE49-F238E27FC236}">
                <a16:creationId xmlns:a16="http://schemas.microsoft.com/office/drawing/2014/main" id="{F6AD4B57-18F0-472F-86DD-FAB0C8FBDCB4}"/>
              </a:ext>
            </a:extLst>
          </p:cNvPr>
          <p:cNvSpPr txBox="1"/>
          <p:nvPr/>
        </p:nvSpPr>
        <p:spPr>
          <a:xfrm>
            <a:off x="1268699" y="4679598"/>
            <a:ext cx="4283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latin typeface="+mj-lt"/>
              </a:rPr>
              <a:t>…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6BAA0541-C9C7-44FC-B849-079345B0DBED}"/>
              </a:ext>
            </a:extLst>
          </p:cNvPr>
          <p:cNvCxnSpPr>
            <a:cxnSpLocks/>
          </p:cNvCxnSpPr>
          <p:nvPr/>
        </p:nvCxnSpPr>
        <p:spPr>
          <a:xfrm>
            <a:off x="1475681" y="4209002"/>
            <a:ext cx="1198983" cy="740326"/>
          </a:xfrm>
          <a:prstGeom prst="straightConnector1">
            <a:avLst/>
          </a:prstGeom>
          <a:ln w="6350">
            <a:solidFill>
              <a:schemeClr val="accent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C61DDE5A-02BF-4034-89D7-FBC5BDA384A2}"/>
              </a:ext>
            </a:extLst>
          </p:cNvPr>
          <p:cNvCxnSpPr>
            <a:cxnSpLocks/>
          </p:cNvCxnSpPr>
          <p:nvPr/>
        </p:nvCxnSpPr>
        <p:spPr>
          <a:xfrm>
            <a:off x="2258847" y="4182967"/>
            <a:ext cx="455285" cy="603131"/>
          </a:xfrm>
          <a:prstGeom prst="straightConnector1">
            <a:avLst/>
          </a:prstGeom>
          <a:ln w="6350">
            <a:solidFill>
              <a:schemeClr val="accent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CF62CFB2-312F-4A15-92AD-DDCA19D36E48}"/>
              </a:ext>
            </a:extLst>
          </p:cNvPr>
          <p:cNvCxnSpPr>
            <a:cxnSpLocks/>
          </p:cNvCxnSpPr>
          <p:nvPr/>
        </p:nvCxnSpPr>
        <p:spPr>
          <a:xfrm flipH="1">
            <a:off x="3258657" y="4559840"/>
            <a:ext cx="707666" cy="304410"/>
          </a:xfrm>
          <a:prstGeom prst="straightConnector1">
            <a:avLst/>
          </a:prstGeom>
          <a:ln w="6350">
            <a:solidFill>
              <a:schemeClr val="accent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29DBD22-DCA7-4F73-B37C-17FC2258B2B7}"/>
              </a:ext>
            </a:extLst>
          </p:cNvPr>
          <p:cNvCxnSpPr>
            <a:cxnSpLocks/>
            <a:endCxn id="6" idx="3"/>
          </p:cNvCxnSpPr>
          <p:nvPr/>
        </p:nvCxnSpPr>
        <p:spPr>
          <a:xfrm flipH="1">
            <a:off x="3309763" y="4559840"/>
            <a:ext cx="1370322" cy="514476"/>
          </a:xfrm>
          <a:prstGeom prst="straightConnector1">
            <a:avLst/>
          </a:prstGeom>
          <a:ln w="6350">
            <a:solidFill>
              <a:schemeClr val="accent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>
            <a:extLst>
              <a:ext uri="{FF2B5EF4-FFF2-40B4-BE49-F238E27FC236}">
                <a16:creationId xmlns:a16="http://schemas.microsoft.com/office/drawing/2014/main" id="{2BA180F2-4B1C-4CDC-8DB7-E50FD81EEE66}"/>
              </a:ext>
            </a:extLst>
          </p:cNvPr>
          <p:cNvCxnSpPr>
            <a:cxnSpLocks/>
          </p:cNvCxnSpPr>
          <p:nvPr/>
        </p:nvCxnSpPr>
        <p:spPr>
          <a:xfrm flipV="1">
            <a:off x="1455796" y="5065116"/>
            <a:ext cx="1254293" cy="758698"/>
          </a:xfrm>
          <a:prstGeom prst="straightConnector1">
            <a:avLst/>
          </a:prstGeom>
          <a:ln w="6350">
            <a:solidFill>
              <a:schemeClr val="accent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168941C5-5FD3-47FA-B30D-DA7C89263B70}"/>
              </a:ext>
            </a:extLst>
          </p:cNvPr>
          <p:cNvCxnSpPr>
            <a:cxnSpLocks/>
          </p:cNvCxnSpPr>
          <p:nvPr/>
        </p:nvCxnSpPr>
        <p:spPr>
          <a:xfrm flipV="1">
            <a:off x="2494388" y="5378960"/>
            <a:ext cx="295707" cy="454405"/>
          </a:xfrm>
          <a:prstGeom prst="straightConnector1">
            <a:avLst/>
          </a:prstGeom>
          <a:ln w="6350">
            <a:solidFill>
              <a:schemeClr val="accent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D47F9A7C-4341-4C7F-B338-98678F75D746}"/>
              </a:ext>
            </a:extLst>
          </p:cNvPr>
          <p:cNvCxnSpPr>
            <a:cxnSpLocks/>
          </p:cNvCxnSpPr>
          <p:nvPr/>
        </p:nvCxnSpPr>
        <p:spPr>
          <a:xfrm flipH="1" flipV="1">
            <a:off x="3154598" y="5378960"/>
            <a:ext cx="234951" cy="444854"/>
          </a:xfrm>
          <a:prstGeom prst="straightConnector1">
            <a:avLst/>
          </a:prstGeom>
          <a:ln w="6350">
            <a:solidFill>
              <a:schemeClr val="accent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CC38FCFF-54D5-42D7-A11D-DE898E761A78}"/>
              </a:ext>
            </a:extLst>
          </p:cNvPr>
          <p:cNvCxnSpPr>
            <a:cxnSpLocks/>
          </p:cNvCxnSpPr>
          <p:nvPr/>
        </p:nvCxnSpPr>
        <p:spPr>
          <a:xfrm flipH="1" flipV="1">
            <a:off x="3272073" y="5234156"/>
            <a:ext cx="1254852" cy="614431"/>
          </a:xfrm>
          <a:prstGeom prst="straightConnector1">
            <a:avLst/>
          </a:prstGeom>
          <a:ln w="6350">
            <a:solidFill>
              <a:schemeClr val="accent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feld 101">
            <a:extLst>
              <a:ext uri="{FF2B5EF4-FFF2-40B4-BE49-F238E27FC236}">
                <a16:creationId xmlns:a16="http://schemas.microsoft.com/office/drawing/2014/main" id="{3DCA5A42-DDF7-4F21-A519-3DEE08FA4200}"/>
              </a:ext>
            </a:extLst>
          </p:cNvPr>
          <p:cNvSpPr txBox="1"/>
          <p:nvPr/>
        </p:nvSpPr>
        <p:spPr>
          <a:xfrm>
            <a:off x="2657105" y="4552556"/>
            <a:ext cx="7056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+mj-lt"/>
              </a:rPr>
              <a:t>Sensor</a:t>
            </a:r>
            <a:endParaRPr lang="de-DE" sz="2800" dirty="0">
              <a:latin typeface="+mj-lt"/>
            </a:endParaRPr>
          </a:p>
        </p:txBody>
      </p:sp>
      <p:sp>
        <p:nvSpPr>
          <p:cNvPr id="4" name="TextBox 8">
            <a:extLst>
              <a:ext uri="{FF2B5EF4-FFF2-40B4-BE49-F238E27FC236}">
                <a16:creationId xmlns:a16="http://schemas.microsoft.com/office/drawing/2014/main" id="{FE4F9E39-9C0C-4621-999B-BB2DFF2B9B15}"/>
              </a:ext>
            </a:extLst>
          </p:cNvPr>
          <p:cNvSpPr txBox="1"/>
          <p:nvPr/>
        </p:nvSpPr>
        <p:spPr>
          <a:xfrm>
            <a:off x="6755949" y="1765329"/>
            <a:ext cx="4942287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Trebuchet MS" panose="020B0703020202090204" pitchFamily="34" charset="0"/>
              </a:rPr>
              <a:t>Goal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Identify stepping-stones early before attacker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reaches target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exfiltrates data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GB" sz="2000" dirty="0">
              <a:latin typeface="Trebuchet MS" panose="020B070302020209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Trace attack back to origin</a:t>
            </a:r>
          </a:p>
          <a:p>
            <a:pPr marL="342900" indent="-342900">
              <a:buFont typeface="Wingdings" pitchFamily="2" charset="2"/>
              <a:buChar char="§"/>
            </a:pPr>
            <a:endParaRPr lang="en-GB" sz="2000" dirty="0">
              <a:latin typeface="Trebuchet MS" panose="020B0703020202090204" pitchFamily="34" charset="0"/>
            </a:endParaRPr>
          </a:p>
          <a:p>
            <a:pPr lvl="1"/>
            <a:endParaRPr lang="en-GB" sz="2000" dirty="0">
              <a:latin typeface="Trebuchet MS" panose="020B0703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97964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dirty="0">
                <a:latin typeface="Trebuchet MS" panose="020B0703020202090204" pitchFamily="34" charset="0"/>
                <a:cs typeface="Calibri Light"/>
              </a:rPr>
              <a:t>Stepping-stone detection</a:t>
            </a:r>
          </a:p>
        </p:txBody>
      </p:sp>
      <p:pic>
        <p:nvPicPr>
          <p:cNvPr id="3" name="Picture 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EE4D087-DB70-48EF-8583-F531882D7F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1309" y="5916050"/>
            <a:ext cx="2636575" cy="70799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5402393-FFAD-4674-B173-20ACF59F4BDF}"/>
              </a:ext>
            </a:extLst>
          </p:cNvPr>
          <p:cNvSpPr txBox="1"/>
          <p:nvPr/>
        </p:nvSpPr>
        <p:spPr>
          <a:xfrm>
            <a:off x="949887" y="1457574"/>
            <a:ext cx="5228102" cy="59990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50000"/>
              </a:lnSpc>
            </a:pPr>
            <a:r>
              <a:rPr lang="en-GB" sz="2000" dirty="0">
                <a:latin typeface="Trebuchet MS" panose="020B0703020202090204" pitchFamily="34" charset="0"/>
              </a:rPr>
              <a:t>Most common techniques: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Watermarking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Packet correlation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endParaRPr lang="en-GB" sz="1600" dirty="0">
              <a:latin typeface="Trebuchet MS" panose="020B0703020202090204" pitchFamily="34" charset="0"/>
            </a:endParaRP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latin typeface="Trebuchet MS" panose="020B0703020202090204" pitchFamily="34" charset="0"/>
              </a:rPr>
              <a:t>RTT-based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latin typeface="Trebuchet MS" panose="020B0703020202090204" pitchFamily="34" charset="0"/>
              </a:rPr>
              <a:t>Anomaly-detection</a:t>
            </a:r>
          </a:p>
          <a:p>
            <a:pPr marL="342900" indent="-342900">
              <a:lnSpc>
                <a:spcPct val="200000"/>
              </a:lnSpc>
              <a:buFont typeface="Wingdings" pitchFamily="2" charset="2"/>
              <a:buChar char="§"/>
            </a:pPr>
            <a:endParaRPr lang="en-GB" sz="2000" dirty="0">
              <a:latin typeface="Trebuchet MS" panose="020B0703020202090204" pitchFamily="34" charset="0"/>
            </a:endParaRPr>
          </a:p>
          <a:p>
            <a:pPr marL="342900" indent="-342900">
              <a:lnSpc>
                <a:spcPct val="200000"/>
              </a:lnSpc>
              <a:buFont typeface="Wingdings" pitchFamily="2" charset="2"/>
              <a:buChar char="§"/>
            </a:pPr>
            <a:endParaRPr lang="en-GB" sz="2000" dirty="0">
              <a:latin typeface="Trebuchet MS" panose="020B0703020202090204" pitchFamily="34" charset="0"/>
            </a:endParaRPr>
          </a:p>
          <a:p>
            <a:pPr lvl="1">
              <a:lnSpc>
                <a:spcPct val="200000"/>
              </a:lnSpc>
            </a:pPr>
            <a:endParaRPr lang="en-GB" sz="2000" dirty="0">
              <a:latin typeface="Trebuchet MS" panose="020B0703020202090204" pitchFamily="34" charset="0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79F402B-4A20-324A-9FF2-4DD692B820D2}"/>
              </a:ext>
            </a:extLst>
          </p:cNvPr>
          <p:cNvGrpSpPr/>
          <p:nvPr/>
        </p:nvGrpSpPr>
        <p:grpSpPr>
          <a:xfrm>
            <a:off x="11093982" y="-14990"/>
            <a:ext cx="1097280" cy="1054387"/>
            <a:chOff x="11093982" y="-14990"/>
            <a:chExt cx="1097280" cy="1054387"/>
          </a:xfrm>
        </p:grpSpPr>
        <p:sp>
          <p:nvSpPr>
            <p:cNvPr id="16" name="NavigationTriangle">
              <a:extLst>
                <a:ext uri="{FF2B5EF4-FFF2-40B4-BE49-F238E27FC236}">
                  <a16:creationId xmlns:a16="http://schemas.microsoft.com/office/drawing/2014/main" id="{0F5C8153-4D05-1D4F-8ACB-77AEF1E1964E}"/>
                </a:ext>
              </a:extLst>
            </p:cNvPr>
            <p:cNvSpPr/>
            <p:nvPr/>
          </p:nvSpPr>
          <p:spPr>
            <a:xfrm rot="16200000">
              <a:off x="11115428" y="-36436"/>
              <a:ext cx="1054387" cy="1097280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5" name="NavigationIcon">
              <a:extLst>
                <a:ext uri="{FF2B5EF4-FFF2-40B4-BE49-F238E27FC236}">
                  <a16:creationId xmlns:a16="http://schemas.microsoft.com/office/drawing/2014/main" id="{AC1E3A02-AF99-3E47-A940-46866CE179A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1698236" y="122285"/>
              <a:ext cx="365760" cy="365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/>
                <a:t>1</a:t>
              </a:r>
            </a:p>
          </p:txBody>
        </p:sp>
      </p:grp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0AEF2AA9-3FB7-486D-B170-9210FA1D1E54}"/>
              </a:ext>
            </a:extLst>
          </p:cNvPr>
          <p:cNvCxnSpPr/>
          <p:nvPr/>
        </p:nvCxnSpPr>
        <p:spPr>
          <a:xfrm>
            <a:off x="5010069" y="4566812"/>
            <a:ext cx="4308296" cy="0"/>
          </a:xfrm>
          <a:prstGeom prst="straightConnector1">
            <a:avLst/>
          </a:prstGeom>
          <a:ln w="127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2237C1E3-988D-4A21-A3AC-8D03DA84B148}"/>
              </a:ext>
            </a:extLst>
          </p:cNvPr>
          <p:cNvCxnSpPr/>
          <p:nvPr/>
        </p:nvCxnSpPr>
        <p:spPr>
          <a:xfrm>
            <a:off x="5010069" y="5603132"/>
            <a:ext cx="4308296" cy="0"/>
          </a:xfrm>
          <a:prstGeom prst="straightConnector1">
            <a:avLst/>
          </a:prstGeom>
          <a:ln w="127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19">
            <a:extLst>
              <a:ext uri="{FF2B5EF4-FFF2-40B4-BE49-F238E27FC236}">
                <a16:creationId xmlns:a16="http://schemas.microsoft.com/office/drawing/2014/main" id="{BD355BA0-9909-422B-AC4A-5BF9F7C217DF}"/>
              </a:ext>
            </a:extLst>
          </p:cNvPr>
          <p:cNvSpPr/>
          <p:nvPr/>
        </p:nvSpPr>
        <p:spPr>
          <a:xfrm>
            <a:off x="5562519" y="4535855"/>
            <a:ext cx="66756" cy="619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393666A-7B32-401C-8010-05E90CCEE3CF}"/>
              </a:ext>
            </a:extLst>
          </p:cNvPr>
          <p:cNvSpPr/>
          <p:nvPr/>
        </p:nvSpPr>
        <p:spPr>
          <a:xfrm>
            <a:off x="5805407" y="5571047"/>
            <a:ext cx="66756" cy="619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FDD1FAB4-55EE-4005-BD0B-3D3A25C89D0C}"/>
              </a:ext>
            </a:extLst>
          </p:cNvPr>
          <p:cNvSpPr/>
          <p:nvPr/>
        </p:nvSpPr>
        <p:spPr>
          <a:xfrm>
            <a:off x="6499857" y="4535854"/>
            <a:ext cx="66756" cy="619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C728765-7C31-4E97-AE80-0A4D597426DB}"/>
              </a:ext>
            </a:extLst>
          </p:cNvPr>
          <p:cNvSpPr/>
          <p:nvPr/>
        </p:nvSpPr>
        <p:spPr>
          <a:xfrm>
            <a:off x="6686477" y="5574681"/>
            <a:ext cx="66756" cy="619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17F519D-A0D4-4A4B-9344-EF04BEEBDADE}"/>
              </a:ext>
            </a:extLst>
          </p:cNvPr>
          <p:cNvSpPr/>
          <p:nvPr/>
        </p:nvSpPr>
        <p:spPr>
          <a:xfrm>
            <a:off x="6725684" y="4535853"/>
            <a:ext cx="66756" cy="6191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7E5D264-A240-4194-AC09-3FA1C24A3524}"/>
              </a:ext>
            </a:extLst>
          </p:cNvPr>
          <p:cNvSpPr/>
          <p:nvPr/>
        </p:nvSpPr>
        <p:spPr>
          <a:xfrm>
            <a:off x="6379367" y="5573552"/>
            <a:ext cx="66756" cy="6191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4AE6746-4F8A-4299-B21C-D61EA5AFA02C}"/>
              </a:ext>
            </a:extLst>
          </p:cNvPr>
          <p:cNvSpPr/>
          <p:nvPr/>
        </p:nvSpPr>
        <p:spPr>
          <a:xfrm>
            <a:off x="7435375" y="4535853"/>
            <a:ext cx="66756" cy="619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F9E2261D-92F6-4BE8-9DC5-79EB29A6B956}"/>
              </a:ext>
            </a:extLst>
          </p:cNvPr>
          <p:cNvSpPr/>
          <p:nvPr/>
        </p:nvSpPr>
        <p:spPr>
          <a:xfrm>
            <a:off x="7695311" y="5573551"/>
            <a:ext cx="66756" cy="619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BA1BEDEA-AEB1-453C-8645-13B52D95134D}"/>
              </a:ext>
            </a:extLst>
          </p:cNvPr>
          <p:cNvSpPr/>
          <p:nvPr/>
        </p:nvSpPr>
        <p:spPr>
          <a:xfrm>
            <a:off x="8225864" y="4535852"/>
            <a:ext cx="66756" cy="6191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A0797CBC-DDBD-418C-941F-6D1C082BE00A}"/>
              </a:ext>
            </a:extLst>
          </p:cNvPr>
          <p:cNvCxnSpPr>
            <a:cxnSpLocks/>
            <a:stCxn id="20" idx="2"/>
            <a:endCxn id="22" idx="0"/>
          </p:cNvCxnSpPr>
          <p:nvPr/>
        </p:nvCxnSpPr>
        <p:spPr>
          <a:xfrm>
            <a:off x="5595897" y="4597768"/>
            <a:ext cx="242888" cy="973279"/>
          </a:xfrm>
          <a:prstGeom prst="straightConnector1">
            <a:avLst/>
          </a:prstGeom>
          <a:ln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19AB441D-EEA1-41C2-A1DF-2B8CC17C7F2D}"/>
              </a:ext>
            </a:extLst>
          </p:cNvPr>
          <p:cNvCxnSpPr>
            <a:cxnSpLocks/>
            <a:stCxn id="24" idx="2"/>
            <a:endCxn id="26" idx="0"/>
          </p:cNvCxnSpPr>
          <p:nvPr/>
        </p:nvCxnSpPr>
        <p:spPr>
          <a:xfrm>
            <a:off x="6533235" y="4597767"/>
            <a:ext cx="186620" cy="976914"/>
          </a:xfrm>
          <a:prstGeom prst="straightConnector1">
            <a:avLst/>
          </a:prstGeom>
          <a:ln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17646566-F1C6-4F60-92CE-DA2A06CFCD28}"/>
              </a:ext>
            </a:extLst>
          </p:cNvPr>
          <p:cNvCxnSpPr>
            <a:cxnSpLocks/>
            <a:stCxn id="32" idx="2"/>
            <a:endCxn id="34" idx="0"/>
          </p:cNvCxnSpPr>
          <p:nvPr/>
        </p:nvCxnSpPr>
        <p:spPr>
          <a:xfrm>
            <a:off x="7468753" y="4597766"/>
            <a:ext cx="259936" cy="975785"/>
          </a:xfrm>
          <a:prstGeom prst="straightConnector1">
            <a:avLst/>
          </a:prstGeom>
          <a:ln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>
            <a:extLst>
              <a:ext uri="{FF2B5EF4-FFF2-40B4-BE49-F238E27FC236}">
                <a16:creationId xmlns:a16="http://schemas.microsoft.com/office/drawing/2014/main" id="{D527DF55-0247-4D48-87FE-DB08A739BF5C}"/>
              </a:ext>
            </a:extLst>
          </p:cNvPr>
          <p:cNvSpPr txBox="1"/>
          <p:nvPr/>
        </p:nvSpPr>
        <p:spPr>
          <a:xfrm>
            <a:off x="9392134" y="4412919"/>
            <a:ext cx="7104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Flow 1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2F4B6C5B-3FB4-48C1-9896-D10C3644DD19}"/>
              </a:ext>
            </a:extLst>
          </p:cNvPr>
          <p:cNvSpPr txBox="1"/>
          <p:nvPr/>
        </p:nvSpPr>
        <p:spPr>
          <a:xfrm>
            <a:off x="9392555" y="5448114"/>
            <a:ext cx="7104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Flow 2</a:t>
            </a:r>
          </a:p>
        </p:txBody>
      </p:sp>
      <p:pic>
        <p:nvPicPr>
          <p:cNvPr id="51" name="Grafik 50">
            <a:extLst>
              <a:ext uri="{FF2B5EF4-FFF2-40B4-BE49-F238E27FC236}">
                <a16:creationId xmlns:a16="http://schemas.microsoft.com/office/drawing/2014/main" id="{36C54D3C-BDF3-47BF-AC2D-CA9B2496B6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1670" y="2506880"/>
            <a:ext cx="3593392" cy="1403408"/>
          </a:xfrm>
          <a:prstGeom prst="rect">
            <a:avLst/>
          </a:prstGeom>
        </p:spPr>
      </p:pic>
      <p:sp>
        <p:nvSpPr>
          <p:cNvPr id="27" name="TextBox 8">
            <a:extLst>
              <a:ext uri="{FF2B5EF4-FFF2-40B4-BE49-F238E27FC236}">
                <a16:creationId xmlns:a16="http://schemas.microsoft.com/office/drawing/2014/main" id="{6C767DD4-5BD7-4ECF-BFE3-3654BA263C18}"/>
              </a:ext>
            </a:extLst>
          </p:cNvPr>
          <p:cNvSpPr txBox="1"/>
          <p:nvPr/>
        </p:nvSpPr>
        <p:spPr>
          <a:xfrm>
            <a:off x="8628320" y="1538951"/>
            <a:ext cx="3252796" cy="2928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GB" sz="2400" dirty="0">
                <a:latin typeface="Trebuchet MS" panose="020B0703020202090204" pitchFamily="34" charset="0"/>
              </a:rPr>
              <a:t>Evasive technique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Transfer delays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Chaff packets</a:t>
            </a:r>
          </a:p>
          <a:p>
            <a:pPr>
              <a:lnSpc>
                <a:spcPct val="150000"/>
              </a:lnSpc>
            </a:pPr>
            <a:endParaRPr lang="en-GB" sz="20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>
                <a:latin typeface="Trebuchet MS" panose="020B0703020202090204" pitchFamily="34" charset="0"/>
              </a:rPr>
              <a:t>Repacketisation</a:t>
            </a:r>
            <a:endParaRPr lang="en-GB" sz="16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>
                <a:latin typeface="Trebuchet MS" panose="020B0703020202090204" pitchFamily="34" charset="0"/>
              </a:rPr>
              <a:t>Flow splitting</a:t>
            </a:r>
            <a:endParaRPr lang="en-GB" sz="2000" dirty="0">
              <a:latin typeface="Trebuchet MS" panose="020B0703020202090204" pitchFamily="34" charset="0"/>
            </a:endParaRPr>
          </a:p>
          <a:p>
            <a:pPr lvl="1">
              <a:lnSpc>
                <a:spcPct val="150000"/>
              </a:lnSpc>
            </a:pPr>
            <a:endParaRPr lang="en-GB" sz="2000" dirty="0">
              <a:latin typeface="Trebuchet MS" panose="020B0703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53560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dirty="0">
                <a:latin typeface="Trebuchet MS" panose="020B0703020202090204" pitchFamily="34" charset="0"/>
                <a:cs typeface="Calibri Light"/>
              </a:rPr>
              <a:t>Stepping-stone detection</a:t>
            </a:r>
          </a:p>
        </p:txBody>
      </p:sp>
      <p:pic>
        <p:nvPicPr>
          <p:cNvPr id="3" name="Picture 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EE4D087-DB70-48EF-8583-F531882D7F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1309" y="5916050"/>
            <a:ext cx="2636575" cy="70799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5402393-FFAD-4674-B173-20ACF59F4BDF}"/>
              </a:ext>
            </a:extLst>
          </p:cNvPr>
          <p:cNvSpPr txBox="1"/>
          <p:nvPr/>
        </p:nvSpPr>
        <p:spPr>
          <a:xfrm>
            <a:off x="949887" y="1457574"/>
            <a:ext cx="5228102" cy="55065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50000"/>
              </a:lnSpc>
            </a:pPr>
            <a:r>
              <a:rPr lang="en-GB" sz="2000" dirty="0">
                <a:latin typeface="Trebuchet MS" panose="020B0703020202090204" pitchFamily="34" charset="0"/>
              </a:rPr>
              <a:t>Most common techniques: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Watermarking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Packet correlation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endParaRPr lang="en-GB" sz="1600" dirty="0">
              <a:latin typeface="Trebuchet MS" panose="020B070302020209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latin typeface="Trebuchet MS" panose="020B0703020202090204" pitchFamily="34" charset="0"/>
              </a:rPr>
              <a:t>RTT-based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latin typeface="Trebuchet MS" panose="020B0703020202090204" pitchFamily="34" charset="0"/>
              </a:rPr>
              <a:t>Anomaly-detection</a:t>
            </a:r>
          </a:p>
          <a:p>
            <a:pPr marL="342900" indent="-342900">
              <a:lnSpc>
                <a:spcPct val="200000"/>
              </a:lnSpc>
              <a:buFont typeface="Wingdings" pitchFamily="2" charset="2"/>
              <a:buChar char="§"/>
            </a:pPr>
            <a:endParaRPr lang="en-GB" sz="2000" dirty="0">
              <a:latin typeface="Trebuchet MS" panose="020B0703020202090204" pitchFamily="34" charset="0"/>
            </a:endParaRPr>
          </a:p>
          <a:p>
            <a:pPr marL="342900" indent="-342900">
              <a:lnSpc>
                <a:spcPct val="200000"/>
              </a:lnSpc>
              <a:buFont typeface="Wingdings" pitchFamily="2" charset="2"/>
              <a:buChar char="§"/>
            </a:pPr>
            <a:endParaRPr lang="en-GB" sz="2000" dirty="0">
              <a:latin typeface="Trebuchet MS" panose="020B0703020202090204" pitchFamily="34" charset="0"/>
            </a:endParaRPr>
          </a:p>
          <a:p>
            <a:pPr lvl="1">
              <a:lnSpc>
                <a:spcPct val="200000"/>
              </a:lnSpc>
            </a:pPr>
            <a:endParaRPr lang="en-GB" sz="2000" dirty="0">
              <a:latin typeface="Trebuchet MS" panose="020B0703020202090204" pitchFamily="34" charset="0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79F402B-4A20-324A-9FF2-4DD692B820D2}"/>
              </a:ext>
            </a:extLst>
          </p:cNvPr>
          <p:cNvGrpSpPr/>
          <p:nvPr/>
        </p:nvGrpSpPr>
        <p:grpSpPr>
          <a:xfrm>
            <a:off x="11093982" y="-14990"/>
            <a:ext cx="1097280" cy="1054387"/>
            <a:chOff x="11093982" y="-14990"/>
            <a:chExt cx="1097280" cy="1054387"/>
          </a:xfrm>
        </p:grpSpPr>
        <p:sp>
          <p:nvSpPr>
            <p:cNvPr id="16" name="NavigationTriangle">
              <a:extLst>
                <a:ext uri="{FF2B5EF4-FFF2-40B4-BE49-F238E27FC236}">
                  <a16:creationId xmlns:a16="http://schemas.microsoft.com/office/drawing/2014/main" id="{0F5C8153-4D05-1D4F-8ACB-77AEF1E1964E}"/>
                </a:ext>
              </a:extLst>
            </p:cNvPr>
            <p:cNvSpPr/>
            <p:nvPr/>
          </p:nvSpPr>
          <p:spPr>
            <a:xfrm rot="16200000">
              <a:off x="11115428" y="-36436"/>
              <a:ext cx="1054387" cy="1097280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5" name="NavigationIcon">
              <a:extLst>
                <a:ext uri="{FF2B5EF4-FFF2-40B4-BE49-F238E27FC236}">
                  <a16:creationId xmlns:a16="http://schemas.microsoft.com/office/drawing/2014/main" id="{AC1E3A02-AF99-3E47-A940-46866CE179A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1698236" y="122285"/>
              <a:ext cx="365760" cy="365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/>
                <a:t>1</a:t>
              </a:r>
            </a:p>
          </p:txBody>
        </p:sp>
      </p:grpSp>
      <p:sp>
        <p:nvSpPr>
          <p:cNvPr id="6" name="TextBox 8">
            <a:extLst>
              <a:ext uri="{FF2B5EF4-FFF2-40B4-BE49-F238E27FC236}">
                <a16:creationId xmlns:a16="http://schemas.microsoft.com/office/drawing/2014/main" id="{124FE92C-43BA-4B65-8BFF-DA78680256FD}"/>
              </a:ext>
            </a:extLst>
          </p:cNvPr>
          <p:cNvSpPr txBox="1"/>
          <p:nvPr/>
        </p:nvSpPr>
        <p:spPr>
          <a:xfrm>
            <a:off x="8628320" y="1538951"/>
            <a:ext cx="3252796" cy="2928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GB" sz="2400" dirty="0">
                <a:latin typeface="Trebuchet MS" panose="020B0703020202090204" pitchFamily="34" charset="0"/>
              </a:rPr>
              <a:t>Evasive technique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Transfer delays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Chaff packets</a:t>
            </a:r>
          </a:p>
          <a:p>
            <a:pPr>
              <a:lnSpc>
                <a:spcPct val="150000"/>
              </a:lnSpc>
            </a:pPr>
            <a:endParaRPr lang="en-GB" sz="20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 err="1">
                <a:latin typeface="Trebuchet MS" panose="020B0703020202090204" pitchFamily="34" charset="0"/>
              </a:rPr>
              <a:t>Repacketisation</a:t>
            </a:r>
            <a:endParaRPr lang="en-GB" sz="16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>
                <a:latin typeface="Trebuchet MS" panose="020B0703020202090204" pitchFamily="34" charset="0"/>
              </a:rPr>
              <a:t>Flow splitting</a:t>
            </a:r>
            <a:endParaRPr lang="en-GB" sz="2000" dirty="0">
              <a:latin typeface="Trebuchet MS" panose="020B0703020202090204" pitchFamily="34" charset="0"/>
            </a:endParaRPr>
          </a:p>
          <a:p>
            <a:pPr lvl="1">
              <a:lnSpc>
                <a:spcPct val="150000"/>
              </a:lnSpc>
            </a:pPr>
            <a:endParaRPr lang="en-GB" sz="2000" dirty="0">
              <a:latin typeface="Trebuchet MS" panose="020B0703020202090204" pitchFamily="34" charset="0"/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0AEF2AA9-3FB7-486D-B170-9210FA1D1E54}"/>
              </a:ext>
            </a:extLst>
          </p:cNvPr>
          <p:cNvCxnSpPr/>
          <p:nvPr/>
        </p:nvCxnSpPr>
        <p:spPr>
          <a:xfrm>
            <a:off x="5010069" y="4566812"/>
            <a:ext cx="4308296" cy="0"/>
          </a:xfrm>
          <a:prstGeom prst="straightConnector1">
            <a:avLst/>
          </a:prstGeom>
          <a:ln w="127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2237C1E3-988D-4A21-A3AC-8D03DA84B148}"/>
              </a:ext>
            </a:extLst>
          </p:cNvPr>
          <p:cNvCxnSpPr/>
          <p:nvPr/>
        </p:nvCxnSpPr>
        <p:spPr>
          <a:xfrm>
            <a:off x="5010069" y="5603132"/>
            <a:ext cx="4308296" cy="0"/>
          </a:xfrm>
          <a:prstGeom prst="straightConnector1">
            <a:avLst/>
          </a:prstGeom>
          <a:ln w="127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19">
            <a:extLst>
              <a:ext uri="{FF2B5EF4-FFF2-40B4-BE49-F238E27FC236}">
                <a16:creationId xmlns:a16="http://schemas.microsoft.com/office/drawing/2014/main" id="{BD355BA0-9909-422B-AC4A-5BF9F7C217DF}"/>
              </a:ext>
            </a:extLst>
          </p:cNvPr>
          <p:cNvSpPr/>
          <p:nvPr/>
        </p:nvSpPr>
        <p:spPr>
          <a:xfrm>
            <a:off x="5562519" y="4535855"/>
            <a:ext cx="66756" cy="619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393666A-7B32-401C-8010-05E90CCEE3CF}"/>
              </a:ext>
            </a:extLst>
          </p:cNvPr>
          <p:cNvSpPr/>
          <p:nvPr/>
        </p:nvSpPr>
        <p:spPr>
          <a:xfrm>
            <a:off x="6505339" y="5571047"/>
            <a:ext cx="66756" cy="619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FDD1FAB4-55EE-4005-BD0B-3D3A25C89D0C}"/>
              </a:ext>
            </a:extLst>
          </p:cNvPr>
          <p:cNvSpPr/>
          <p:nvPr/>
        </p:nvSpPr>
        <p:spPr>
          <a:xfrm>
            <a:off x="6499857" y="4535854"/>
            <a:ext cx="66756" cy="619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C728765-7C31-4E97-AE80-0A4D597426DB}"/>
              </a:ext>
            </a:extLst>
          </p:cNvPr>
          <p:cNvSpPr/>
          <p:nvPr/>
        </p:nvSpPr>
        <p:spPr>
          <a:xfrm>
            <a:off x="7839541" y="5577604"/>
            <a:ext cx="66756" cy="619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17F519D-A0D4-4A4B-9344-EF04BEEBDADE}"/>
              </a:ext>
            </a:extLst>
          </p:cNvPr>
          <p:cNvSpPr/>
          <p:nvPr/>
        </p:nvSpPr>
        <p:spPr>
          <a:xfrm>
            <a:off x="6725684" y="4535853"/>
            <a:ext cx="66756" cy="6191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7E5D264-A240-4194-AC09-3FA1C24A3524}"/>
              </a:ext>
            </a:extLst>
          </p:cNvPr>
          <p:cNvSpPr/>
          <p:nvPr/>
        </p:nvSpPr>
        <p:spPr>
          <a:xfrm>
            <a:off x="6784961" y="5571044"/>
            <a:ext cx="66756" cy="6191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4AE6746-4F8A-4299-B21C-D61EA5AFA02C}"/>
              </a:ext>
            </a:extLst>
          </p:cNvPr>
          <p:cNvSpPr/>
          <p:nvPr/>
        </p:nvSpPr>
        <p:spPr>
          <a:xfrm>
            <a:off x="7557348" y="4542682"/>
            <a:ext cx="66756" cy="619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F9E2261D-92F6-4BE8-9DC5-79EB29A6B956}"/>
              </a:ext>
            </a:extLst>
          </p:cNvPr>
          <p:cNvSpPr/>
          <p:nvPr/>
        </p:nvSpPr>
        <p:spPr>
          <a:xfrm>
            <a:off x="8587583" y="5577604"/>
            <a:ext cx="66756" cy="619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BA1BEDEA-AEB1-453C-8645-13B52D95134D}"/>
              </a:ext>
            </a:extLst>
          </p:cNvPr>
          <p:cNvSpPr/>
          <p:nvPr/>
        </p:nvSpPr>
        <p:spPr>
          <a:xfrm>
            <a:off x="8225864" y="4535852"/>
            <a:ext cx="66756" cy="6191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A0797CBC-DDBD-418C-941F-6D1C082BE00A}"/>
              </a:ext>
            </a:extLst>
          </p:cNvPr>
          <p:cNvCxnSpPr>
            <a:cxnSpLocks/>
            <a:stCxn id="20" idx="2"/>
            <a:endCxn id="22" idx="0"/>
          </p:cNvCxnSpPr>
          <p:nvPr/>
        </p:nvCxnSpPr>
        <p:spPr>
          <a:xfrm>
            <a:off x="5595897" y="4597768"/>
            <a:ext cx="942820" cy="973279"/>
          </a:xfrm>
          <a:prstGeom prst="straightConnector1">
            <a:avLst/>
          </a:prstGeom>
          <a:ln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19AB441D-EEA1-41C2-A1DF-2B8CC17C7F2D}"/>
              </a:ext>
            </a:extLst>
          </p:cNvPr>
          <p:cNvCxnSpPr>
            <a:cxnSpLocks/>
            <a:stCxn id="24" idx="2"/>
            <a:endCxn id="26" idx="0"/>
          </p:cNvCxnSpPr>
          <p:nvPr/>
        </p:nvCxnSpPr>
        <p:spPr>
          <a:xfrm>
            <a:off x="6533235" y="4597767"/>
            <a:ext cx="1339684" cy="979837"/>
          </a:xfrm>
          <a:prstGeom prst="straightConnector1">
            <a:avLst/>
          </a:prstGeom>
          <a:ln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17646566-F1C6-4F60-92CE-DA2A06CFCD28}"/>
              </a:ext>
            </a:extLst>
          </p:cNvPr>
          <p:cNvCxnSpPr>
            <a:cxnSpLocks/>
            <a:stCxn id="32" idx="2"/>
            <a:endCxn id="34" idx="0"/>
          </p:cNvCxnSpPr>
          <p:nvPr/>
        </p:nvCxnSpPr>
        <p:spPr>
          <a:xfrm>
            <a:off x="7590726" y="4604595"/>
            <a:ext cx="1030235" cy="973009"/>
          </a:xfrm>
          <a:prstGeom prst="straightConnector1">
            <a:avLst/>
          </a:prstGeom>
          <a:ln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>
            <a:extLst>
              <a:ext uri="{FF2B5EF4-FFF2-40B4-BE49-F238E27FC236}">
                <a16:creationId xmlns:a16="http://schemas.microsoft.com/office/drawing/2014/main" id="{D527DF55-0247-4D48-87FE-DB08A739BF5C}"/>
              </a:ext>
            </a:extLst>
          </p:cNvPr>
          <p:cNvSpPr txBox="1"/>
          <p:nvPr/>
        </p:nvSpPr>
        <p:spPr>
          <a:xfrm>
            <a:off x="9392134" y="4412919"/>
            <a:ext cx="7104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Flow 1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2F4B6C5B-3FB4-48C1-9896-D10C3644DD19}"/>
              </a:ext>
            </a:extLst>
          </p:cNvPr>
          <p:cNvSpPr txBox="1"/>
          <p:nvPr/>
        </p:nvSpPr>
        <p:spPr>
          <a:xfrm>
            <a:off x="9392555" y="5448114"/>
            <a:ext cx="7104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Flow 2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83CE990-8C85-4C72-863D-59387B5F42EC}"/>
              </a:ext>
            </a:extLst>
          </p:cNvPr>
          <p:cNvSpPr/>
          <p:nvPr/>
        </p:nvSpPr>
        <p:spPr>
          <a:xfrm>
            <a:off x="5813133" y="4531794"/>
            <a:ext cx="66756" cy="6191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A647C07D-27EB-4197-8FFA-D45DF3692A6B}"/>
              </a:ext>
            </a:extLst>
          </p:cNvPr>
          <p:cNvSpPr/>
          <p:nvPr/>
        </p:nvSpPr>
        <p:spPr>
          <a:xfrm>
            <a:off x="6041245" y="4530427"/>
            <a:ext cx="66756" cy="6191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147DFD6E-400F-4991-A212-51B285F93F7A}"/>
              </a:ext>
            </a:extLst>
          </p:cNvPr>
          <p:cNvSpPr/>
          <p:nvPr/>
        </p:nvSpPr>
        <p:spPr>
          <a:xfrm>
            <a:off x="7445435" y="5561521"/>
            <a:ext cx="66756" cy="6191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EBB141D-056E-4EC8-BC93-CC33E79483B0}"/>
              </a:ext>
            </a:extLst>
          </p:cNvPr>
          <p:cNvSpPr/>
          <p:nvPr/>
        </p:nvSpPr>
        <p:spPr>
          <a:xfrm>
            <a:off x="7666935" y="5568349"/>
            <a:ext cx="66756" cy="6191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5E4C345-6D85-442F-9CC8-AE22D8A692C4}"/>
              </a:ext>
            </a:extLst>
          </p:cNvPr>
          <p:cNvSpPr/>
          <p:nvPr/>
        </p:nvSpPr>
        <p:spPr>
          <a:xfrm>
            <a:off x="7180942" y="4536983"/>
            <a:ext cx="66756" cy="6191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31DAFAF1-BEA3-4F66-930D-84829AE6E3D8}"/>
              </a:ext>
            </a:extLst>
          </p:cNvPr>
          <p:cNvSpPr/>
          <p:nvPr/>
        </p:nvSpPr>
        <p:spPr>
          <a:xfrm>
            <a:off x="5262236" y="5568348"/>
            <a:ext cx="66756" cy="6191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CAE76C87-0BF4-47E3-86C6-B15262D20003}"/>
              </a:ext>
            </a:extLst>
          </p:cNvPr>
          <p:cNvSpPr/>
          <p:nvPr/>
        </p:nvSpPr>
        <p:spPr>
          <a:xfrm>
            <a:off x="7874718" y="4530427"/>
            <a:ext cx="66756" cy="6191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FA91FBB4-D4F3-45C1-9C0F-F2626F85B6A7}"/>
              </a:ext>
            </a:extLst>
          </p:cNvPr>
          <p:cNvSpPr/>
          <p:nvPr/>
        </p:nvSpPr>
        <p:spPr>
          <a:xfrm>
            <a:off x="5285913" y="4530425"/>
            <a:ext cx="66756" cy="6191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158592B-FA68-4874-9433-E9669376E97C}"/>
              </a:ext>
            </a:extLst>
          </p:cNvPr>
          <p:cNvSpPr/>
          <p:nvPr/>
        </p:nvSpPr>
        <p:spPr>
          <a:xfrm>
            <a:off x="8742243" y="4530425"/>
            <a:ext cx="66756" cy="6191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111A200-4548-4CFF-979C-53B18F4C72A4}"/>
              </a:ext>
            </a:extLst>
          </p:cNvPr>
          <p:cNvSpPr/>
          <p:nvPr/>
        </p:nvSpPr>
        <p:spPr>
          <a:xfrm>
            <a:off x="6991891" y="5569715"/>
            <a:ext cx="66756" cy="6191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7CC7781B-92CC-450A-9651-DD6944087400}"/>
              </a:ext>
            </a:extLst>
          </p:cNvPr>
          <p:cNvSpPr/>
          <p:nvPr/>
        </p:nvSpPr>
        <p:spPr>
          <a:xfrm>
            <a:off x="7220003" y="5568348"/>
            <a:ext cx="66756" cy="6191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3CACE463-ACB8-4D2E-A911-BA1B71BF0715}"/>
              </a:ext>
            </a:extLst>
          </p:cNvPr>
          <p:cNvSpPr/>
          <p:nvPr/>
        </p:nvSpPr>
        <p:spPr>
          <a:xfrm>
            <a:off x="8359700" y="5574904"/>
            <a:ext cx="66756" cy="6191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Geschweifte Klammer links 57">
            <a:extLst>
              <a:ext uri="{FF2B5EF4-FFF2-40B4-BE49-F238E27FC236}">
                <a16:creationId xmlns:a16="http://schemas.microsoft.com/office/drawing/2014/main" id="{89159B27-98D7-410B-A3A5-1D79B8825ABA}"/>
              </a:ext>
            </a:extLst>
          </p:cNvPr>
          <p:cNvSpPr/>
          <p:nvPr/>
        </p:nvSpPr>
        <p:spPr>
          <a:xfrm rot="16200000">
            <a:off x="5983594" y="5229864"/>
            <a:ext cx="155322" cy="930715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0" name="Textfeld 59">
                <a:extLst>
                  <a:ext uri="{FF2B5EF4-FFF2-40B4-BE49-F238E27FC236}">
                    <a16:creationId xmlns:a16="http://schemas.microsoft.com/office/drawing/2014/main" id="{D87B59C3-0842-4F4F-8A3C-987DFD7BBFE5}"/>
                  </a:ext>
                </a:extLst>
              </p:cNvPr>
              <p:cNvSpPr txBox="1"/>
              <p:nvPr/>
            </p:nvSpPr>
            <p:spPr>
              <a:xfrm>
                <a:off x="5827253" y="5755891"/>
                <a:ext cx="48846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GB">
                          <a:latin typeface="Cambria Math" panose="02040503050406030204" pitchFamily="18" charset="0"/>
                        </a:rPr>
                        <m:t>Δ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𝑡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60" name="Textfeld 59">
                <a:extLst>
                  <a:ext uri="{FF2B5EF4-FFF2-40B4-BE49-F238E27FC236}">
                    <a16:creationId xmlns:a16="http://schemas.microsoft.com/office/drawing/2014/main" id="{D87B59C3-0842-4F4F-8A3C-987DFD7BBF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27253" y="5755891"/>
                <a:ext cx="488467" cy="3693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0146332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8320791" cy="1325563"/>
          </a:xfrm>
        </p:spPr>
        <p:txBody>
          <a:bodyPr/>
          <a:lstStyle/>
          <a:p>
            <a:r>
              <a:rPr lang="en-US" dirty="0">
                <a:latin typeface="Trebuchet MS" panose="020B0703020202090204" pitchFamily="34" charset="0"/>
                <a:cs typeface="Calibri Light"/>
              </a:rPr>
              <a:t>Evaluation problems</a:t>
            </a: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7EA520DB-50B6-0245-95DB-D2B68929388A}"/>
              </a:ext>
            </a:extLst>
          </p:cNvPr>
          <p:cNvGrpSpPr/>
          <p:nvPr/>
        </p:nvGrpSpPr>
        <p:grpSpPr>
          <a:xfrm>
            <a:off x="11093982" y="-14990"/>
            <a:ext cx="1097280" cy="1054387"/>
            <a:chOff x="11093982" y="-14990"/>
            <a:chExt cx="1097280" cy="1054387"/>
          </a:xfrm>
        </p:grpSpPr>
        <p:sp>
          <p:nvSpPr>
            <p:cNvPr id="33" name="NavigationTriangle">
              <a:extLst>
                <a:ext uri="{FF2B5EF4-FFF2-40B4-BE49-F238E27FC236}">
                  <a16:creationId xmlns:a16="http://schemas.microsoft.com/office/drawing/2014/main" id="{E422F847-F579-0B45-A6EE-D3853C1736FE}"/>
                </a:ext>
              </a:extLst>
            </p:cNvPr>
            <p:cNvSpPr/>
            <p:nvPr/>
          </p:nvSpPr>
          <p:spPr>
            <a:xfrm rot="16200000">
              <a:off x="11115428" y="-36436"/>
              <a:ext cx="1054387" cy="1097280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34" name="NavigationIcon">
              <a:extLst>
                <a:ext uri="{FF2B5EF4-FFF2-40B4-BE49-F238E27FC236}">
                  <a16:creationId xmlns:a16="http://schemas.microsoft.com/office/drawing/2014/main" id="{59E6DB54-C793-9746-A885-7B595EC8FFF7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1698236" y="122285"/>
              <a:ext cx="365760" cy="365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/>
                <a:t>1</a:t>
              </a:r>
            </a:p>
          </p:txBody>
        </p:sp>
      </p:grpSp>
      <p:sp>
        <p:nvSpPr>
          <p:cNvPr id="4" name="TextBox 8">
            <a:extLst>
              <a:ext uri="{FF2B5EF4-FFF2-40B4-BE49-F238E27FC236}">
                <a16:creationId xmlns:a16="http://schemas.microsoft.com/office/drawing/2014/main" id="{B2F77D58-0761-47D0-8719-7140C73A07C8}"/>
              </a:ext>
            </a:extLst>
          </p:cNvPr>
          <p:cNvSpPr txBox="1"/>
          <p:nvPr/>
        </p:nvSpPr>
        <p:spPr>
          <a:xfrm>
            <a:off x="744681" y="1817928"/>
            <a:ext cx="5228102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latin typeface="Trebuchet MS" panose="020B0703020202090204" pitchFamily="34" charset="0"/>
              </a:rPr>
              <a:t>No public data!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latin typeface="Trebuchet MS" panose="020B0703020202090204" pitchFamily="34" charset="0"/>
              </a:rPr>
              <a:t>Widespread use of self-generated data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Simplistic attack scenario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restrictive evasive tactic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Trebuchet MS" panose="020B0703020202090204" pitchFamily="34" charset="0"/>
              </a:rPr>
              <a:t>Unrealistic background traffic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GB" sz="2400" dirty="0">
              <a:latin typeface="Trebuchet MS" panose="020B070302020209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GB" sz="2400" dirty="0">
              <a:latin typeface="Trebuchet MS" panose="020B0703020202090204" pitchFamily="34" charset="0"/>
            </a:endParaRPr>
          </a:p>
          <a:p>
            <a:pPr marL="342900" indent="-342900">
              <a:buFont typeface="Wingdings" pitchFamily="2" charset="2"/>
              <a:buChar char="§"/>
            </a:pPr>
            <a:endParaRPr lang="en-GB" sz="2000" dirty="0">
              <a:latin typeface="Trebuchet MS" panose="020B0703020202090204" pitchFamily="34" charset="0"/>
            </a:endParaRPr>
          </a:p>
        </p:txBody>
      </p:sp>
      <p:sp>
        <p:nvSpPr>
          <p:cNvPr id="3" name="TextBox 8">
            <a:extLst>
              <a:ext uri="{FF2B5EF4-FFF2-40B4-BE49-F238E27FC236}">
                <a16:creationId xmlns:a16="http://schemas.microsoft.com/office/drawing/2014/main" id="{E965419C-49CD-4278-B9D1-DCCF209633FB}"/>
              </a:ext>
            </a:extLst>
          </p:cNvPr>
          <p:cNvSpPr txBox="1"/>
          <p:nvPr/>
        </p:nvSpPr>
        <p:spPr>
          <a:xfrm>
            <a:off x="6835894" y="1817928"/>
            <a:ext cx="5228102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latin typeface="Trebuchet MS" panose="020B0703020202090204" pitchFamily="34" charset="0"/>
              </a:rPr>
              <a:t>No standard on number of packe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latin typeface="Trebuchet MS" panose="020B0703020202090204" pitchFamily="34" charset="0"/>
              </a:rPr>
              <a:t>Setup shielded from other influence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GB" sz="2400" dirty="0">
              <a:latin typeface="Trebuchet MS" panose="020B070302020209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GB" sz="2400" dirty="0">
              <a:latin typeface="Trebuchet MS" panose="020B0703020202090204" pitchFamily="34" charset="0"/>
            </a:endParaRPr>
          </a:p>
          <a:p>
            <a:pPr marL="342900" indent="-342900">
              <a:buFont typeface="Wingdings" pitchFamily="2" charset="2"/>
              <a:buChar char="§"/>
            </a:pPr>
            <a:endParaRPr lang="en-GB" sz="2000" dirty="0">
              <a:latin typeface="Trebuchet MS" panose="020B0703020202090204" pitchFamily="34" charset="0"/>
            </a:endParaRPr>
          </a:p>
        </p:txBody>
      </p:sp>
      <p:sp>
        <p:nvSpPr>
          <p:cNvPr id="5" name="TextBox 8">
            <a:extLst>
              <a:ext uri="{FF2B5EF4-FFF2-40B4-BE49-F238E27FC236}">
                <a16:creationId xmlns:a16="http://schemas.microsoft.com/office/drawing/2014/main" id="{01EDA652-9526-483C-BA13-74A538F98FF6}"/>
              </a:ext>
            </a:extLst>
          </p:cNvPr>
          <p:cNvSpPr txBox="1"/>
          <p:nvPr/>
        </p:nvSpPr>
        <p:spPr>
          <a:xfrm>
            <a:off x="2752040" y="5423043"/>
            <a:ext cx="63556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Trebuchet MS" panose="020B0703020202090204" pitchFamily="34" charset="0"/>
                <a:sym typeface="Wingdings" panose="05000000000000000000" pitchFamily="2" charset="2"/>
              </a:rPr>
              <a:t> </a:t>
            </a:r>
            <a:r>
              <a:rPr lang="en-GB" sz="2400" dirty="0">
                <a:latin typeface="Trebuchet MS" panose="020B0703020202090204" pitchFamily="34" charset="0"/>
              </a:rPr>
              <a:t>Impossible to compare detection rates</a:t>
            </a:r>
          </a:p>
        </p:txBody>
      </p:sp>
    </p:spTree>
    <p:extLst>
      <p:ext uri="{BB962C8B-B14F-4D97-AF65-F5344CB8AC3E}">
        <p14:creationId xmlns:p14="http://schemas.microsoft.com/office/powerpoint/2010/main" val="6966821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8320791" cy="1325563"/>
          </a:xfrm>
        </p:spPr>
        <p:txBody>
          <a:bodyPr/>
          <a:lstStyle/>
          <a:p>
            <a:r>
              <a:rPr lang="en-US" sz="4000" dirty="0">
                <a:latin typeface="Trebuchet MS" panose="020B0703020202090204" pitchFamily="34" charset="0"/>
              </a:rPr>
              <a:t>Data generation set-up</a:t>
            </a:r>
            <a:endParaRPr lang="en-US" dirty="0">
              <a:latin typeface="Trebuchet MS" panose="020B0703020202090204" pitchFamily="34" charset="0"/>
              <a:cs typeface="Calibri Light"/>
            </a:endParaRPr>
          </a:p>
        </p:txBody>
      </p:sp>
      <p:sp>
        <p:nvSpPr>
          <p:cNvPr id="5" name="TextBox 8">
            <a:extLst>
              <a:ext uri="{FF2B5EF4-FFF2-40B4-BE49-F238E27FC236}">
                <a16:creationId xmlns:a16="http://schemas.microsoft.com/office/drawing/2014/main" id="{F5E7AF60-05A5-E846-8FE2-463486EF3220}"/>
              </a:ext>
            </a:extLst>
          </p:cNvPr>
          <p:cNvSpPr txBox="1"/>
          <p:nvPr/>
        </p:nvSpPr>
        <p:spPr>
          <a:xfrm>
            <a:off x="1134759" y="2049015"/>
            <a:ext cx="5515127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Trebuchet MS" panose="020B0703020202090204" pitchFamily="34" charset="0"/>
              </a:rPr>
              <a:t>Interactive SSH-sess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Trebuchet MS" panose="020B0703020202090204" pitchFamily="34" charset="0"/>
              </a:rPr>
              <a:t>relayed using SSH-tunne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Trebuchet MS" panose="020B0703020202090204" pitchFamily="34" charset="0"/>
              </a:rPr>
              <a:t>SSH-scrip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Trebuchet MS" panose="020B0703020202090204" pitchFamily="34" charset="0"/>
              </a:rPr>
              <a:t>commands drawn randomly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Trebuchet MS" panose="020B0703020202090204" pitchFamily="34" charset="0"/>
              </a:rPr>
              <a:t>randomized input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Trebuchet MS" panose="020B0703020202090204" pitchFamily="34" charset="0"/>
              </a:rPr>
              <a:t>sleep intervals to simulate reaction tim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Trebuchet MS" panose="020B0703020202090204" pitchFamily="34" charset="0"/>
            </a:endParaRPr>
          </a:p>
          <a:p>
            <a:endParaRPr lang="en-US" sz="20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Trebuchet MS" panose="020B0703020202090204" pitchFamily="34" charset="0"/>
              </a:rPr>
              <a:t>Containers for reproducibility</a:t>
            </a:r>
          </a:p>
          <a:p>
            <a:endParaRPr lang="en-US" sz="2000" dirty="0">
              <a:latin typeface="Trebuchet MS" panose="020B0703020202090204" pitchFamily="34" charset="0"/>
            </a:endParaRPr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36A558D7-BBF3-3842-A595-122FBA174F4D}"/>
              </a:ext>
            </a:extLst>
          </p:cNvPr>
          <p:cNvGrpSpPr/>
          <p:nvPr/>
        </p:nvGrpSpPr>
        <p:grpSpPr>
          <a:xfrm>
            <a:off x="11093982" y="-14990"/>
            <a:ext cx="1097280" cy="1054387"/>
            <a:chOff x="11093982" y="-14990"/>
            <a:chExt cx="1097280" cy="1054387"/>
          </a:xfrm>
        </p:grpSpPr>
        <p:sp>
          <p:nvSpPr>
            <p:cNvPr id="90" name="NavigationTriangle">
              <a:extLst>
                <a:ext uri="{FF2B5EF4-FFF2-40B4-BE49-F238E27FC236}">
                  <a16:creationId xmlns:a16="http://schemas.microsoft.com/office/drawing/2014/main" id="{75CC37CB-0FDB-9C4D-B950-F045669F9AB9}"/>
                </a:ext>
              </a:extLst>
            </p:cNvPr>
            <p:cNvSpPr/>
            <p:nvPr/>
          </p:nvSpPr>
          <p:spPr>
            <a:xfrm rot="16200000">
              <a:off x="11115428" y="-36436"/>
              <a:ext cx="1054387" cy="1097280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91" name="NavigationIcon">
              <a:extLst>
                <a:ext uri="{FF2B5EF4-FFF2-40B4-BE49-F238E27FC236}">
                  <a16:creationId xmlns:a16="http://schemas.microsoft.com/office/drawing/2014/main" id="{248BB64A-2681-154D-A068-C8F7AB78918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1698236" y="122285"/>
              <a:ext cx="365760" cy="365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/>
                <a:t>2</a:t>
              </a:r>
            </a:p>
          </p:txBody>
        </p:sp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278403BF-543B-46AB-A821-FE0CCBB9EB58}"/>
              </a:ext>
            </a:extLst>
          </p:cNvPr>
          <p:cNvGrpSpPr/>
          <p:nvPr/>
        </p:nvGrpSpPr>
        <p:grpSpPr>
          <a:xfrm>
            <a:off x="7618569" y="3503992"/>
            <a:ext cx="1068425" cy="1179795"/>
            <a:chOff x="2697668" y="2570817"/>
            <a:chExt cx="1068425" cy="1179795"/>
          </a:xfrm>
        </p:grpSpPr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1F487CAE-9163-45C0-B067-C9439AC18495}"/>
                </a:ext>
              </a:extLst>
            </p:cNvPr>
            <p:cNvGrpSpPr/>
            <p:nvPr/>
          </p:nvGrpSpPr>
          <p:grpSpPr>
            <a:xfrm>
              <a:off x="2753472" y="2581550"/>
              <a:ext cx="952213" cy="1152203"/>
              <a:chOff x="2131241" y="3552677"/>
              <a:chExt cx="952213" cy="1152203"/>
            </a:xfrm>
          </p:grpSpPr>
          <p:cxnSp>
            <p:nvCxnSpPr>
              <p:cNvPr id="57" name="Gerader Verbinder 56">
                <a:extLst>
                  <a:ext uri="{FF2B5EF4-FFF2-40B4-BE49-F238E27FC236}">
                    <a16:creationId xmlns:a16="http://schemas.microsoft.com/office/drawing/2014/main" id="{3C48ABE7-62E1-48AF-89DB-65159A67C4C6}"/>
                  </a:ext>
                </a:extLst>
              </p:cNvPr>
              <p:cNvCxnSpPr>
                <a:cxnSpLocks/>
                <a:stCxn id="61" idx="7"/>
                <a:endCxn id="60" idx="7"/>
              </p:cNvCxnSpPr>
              <p:nvPr/>
            </p:nvCxnSpPr>
            <p:spPr>
              <a:xfrm>
                <a:off x="2317410" y="3588305"/>
                <a:ext cx="734103" cy="908923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r Verbinder 57">
                <a:extLst>
                  <a:ext uri="{FF2B5EF4-FFF2-40B4-BE49-F238E27FC236}">
                    <a16:creationId xmlns:a16="http://schemas.microsoft.com/office/drawing/2014/main" id="{FE842139-362F-4DA3-B017-B94C31361C6E}"/>
                  </a:ext>
                </a:extLst>
              </p:cNvPr>
              <p:cNvCxnSpPr>
                <a:cxnSpLocks/>
                <a:stCxn id="61" idx="3"/>
                <a:endCxn id="60" idx="3"/>
              </p:cNvCxnSpPr>
              <p:nvPr/>
            </p:nvCxnSpPr>
            <p:spPr>
              <a:xfrm>
                <a:off x="2163182" y="3760329"/>
                <a:ext cx="734103" cy="908923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87033D55-6FA3-40CD-BD4E-23ACEECFACB2}"/>
                  </a:ext>
                </a:extLst>
              </p:cNvPr>
              <p:cNvSpPr txBox="1"/>
              <p:nvPr/>
            </p:nvSpPr>
            <p:spPr>
              <a:xfrm rot="3053154">
                <a:off x="2114775" y="3987411"/>
                <a:ext cx="1000659" cy="276999"/>
              </a:xfrm>
              <a:prstGeom prst="rect">
                <a:avLst/>
              </a:prstGeom>
              <a:noFill/>
              <a:ln>
                <a:noFill/>
                <a:prstDash val="dashDot"/>
              </a:ln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SSH-Tunnel 1</a:t>
                </a:r>
              </a:p>
            </p:txBody>
          </p:sp>
          <p:sp>
            <p:nvSpPr>
              <p:cNvPr id="60" name="Ellipse 59">
                <a:extLst>
                  <a:ext uri="{FF2B5EF4-FFF2-40B4-BE49-F238E27FC236}">
                    <a16:creationId xmlns:a16="http://schemas.microsoft.com/office/drawing/2014/main" id="{2E0DE706-39C8-4F73-8F43-73DCD4C5A342}"/>
                  </a:ext>
                </a:extLst>
              </p:cNvPr>
              <p:cNvSpPr/>
              <p:nvPr/>
            </p:nvSpPr>
            <p:spPr>
              <a:xfrm>
                <a:off x="2865344" y="4461600"/>
                <a:ext cx="218110" cy="243280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1" name="Ellipse 60">
                <a:extLst>
                  <a:ext uri="{FF2B5EF4-FFF2-40B4-BE49-F238E27FC236}">
                    <a16:creationId xmlns:a16="http://schemas.microsoft.com/office/drawing/2014/main" id="{0AF4BDC0-41B0-4492-A48D-E4A3A5B36C63}"/>
                  </a:ext>
                </a:extLst>
              </p:cNvPr>
              <p:cNvSpPr/>
              <p:nvPr/>
            </p:nvSpPr>
            <p:spPr>
              <a:xfrm>
                <a:off x="2131241" y="3552677"/>
                <a:ext cx="218110" cy="243280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55" name="Textfeld 54">
              <a:extLst>
                <a:ext uri="{FF2B5EF4-FFF2-40B4-BE49-F238E27FC236}">
                  <a16:creationId xmlns:a16="http://schemas.microsoft.com/office/drawing/2014/main" id="{AA8EEAD4-975B-4A29-A2E7-CD69E5BA7D0D}"/>
                </a:ext>
              </a:extLst>
            </p:cNvPr>
            <p:cNvSpPr txBox="1"/>
            <p:nvPr/>
          </p:nvSpPr>
          <p:spPr>
            <a:xfrm>
              <a:off x="2697668" y="2570817"/>
              <a:ext cx="341760" cy="276999"/>
            </a:xfrm>
            <a:prstGeom prst="rect">
              <a:avLst/>
            </a:prstGeom>
            <a:noFill/>
            <a:ln>
              <a:noFill/>
              <a:prstDash val="dashDot"/>
            </a:ln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22</a:t>
              </a:r>
            </a:p>
          </p:txBody>
        </p:sp>
        <p:sp>
          <p:nvSpPr>
            <p:cNvPr id="56" name="Textfeld 55">
              <a:extLst>
                <a:ext uri="{FF2B5EF4-FFF2-40B4-BE49-F238E27FC236}">
                  <a16:creationId xmlns:a16="http://schemas.microsoft.com/office/drawing/2014/main" id="{15FE6B13-C3FB-47B7-BB6D-7CFBF3946D6A}"/>
                </a:ext>
              </a:extLst>
            </p:cNvPr>
            <p:cNvSpPr txBox="1"/>
            <p:nvPr/>
          </p:nvSpPr>
          <p:spPr>
            <a:xfrm>
              <a:off x="3424333" y="3473613"/>
              <a:ext cx="341760" cy="276999"/>
            </a:xfrm>
            <a:prstGeom prst="rect">
              <a:avLst/>
            </a:prstGeom>
            <a:noFill/>
            <a:ln>
              <a:noFill/>
              <a:prstDash val="dashDot"/>
            </a:ln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22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85" name="TextBox 11">
                <a:extLst>
                  <a:ext uri="{FF2B5EF4-FFF2-40B4-BE49-F238E27FC236}">
                    <a16:creationId xmlns:a16="http://schemas.microsoft.com/office/drawing/2014/main" id="{395F1F60-D0A1-40E3-B05E-73D8BC375572}"/>
                  </a:ext>
                </a:extLst>
              </p:cNvPr>
              <p:cNvSpPr txBox="1"/>
              <p:nvPr/>
            </p:nvSpPr>
            <p:spPr>
              <a:xfrm>
                <a:off x="7533237" y="3021844"/>
                <a:ext cx="469487" cy="461665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𝑂</m:t>
                      </m:r>
                    </m:oMath>
                  </m:oMathPara>
                </a14:m>
                <a:endParaRPr lang="en-GB" sz="2400" dirty="0"/>
              </a:p>
            </p:txBody>
          </p:sp>
        </mc:Choice>
        <mc:Fallback xmlns="">
          <p:sp>
            <p:nvSpPr>
              <p:cNvPr id="85" name="TextBox 11">
                <a:extLst>
                  <a:ext uri="{FF2B5EF4-FFF2-40B4-BE49-F238E27FC236}">
                    <a16:creationId xmlns:a16="http://schemas.microsoft.com/office/drawing/2014/main" id="{395F1F60-D0A1-40E3-B05E-73D8BC3755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33237" y="3021844"/>
                <a:ext cx="469487" cy="46166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6" name="TextBox 11">
                <a:extLst>
                  <a:ext uri="{FF2B5EF4-FFF2-40B4-BE49-F238E27FC236}">
                    <a16:creationId xmlns:a16="http://schemas.microsoft.com/office/drawing/2014/main" id="{8A2A3A87-710C-4AB9-A68E-AB7F551931C9}"/>
                  </a:ext>
                </a:extLst>
              </p:cNvPr>
              <p:cNvSpPr txBox="1"/>
              <p:nvPr/>
            </p:nvSpPr>
            <p:spPr>
              <a:xfrm>
                <a:off x="8685434" y="4306528"/>
                <a:ext cx="539057" cy="461665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GB" sz="2400" dirty="0"/>
              </a:p>
            </p:txBody>
          </p:sp>
        </mc:Choice>
        <mc:Fallback xmlns="">
          <p:sp>
            <p:nvSpPr>
              <p:cNvPr id="86" name="TextBox 11">
                <a:extLst>
                  <a:ext uri="{FF2B5EF4-FFF2-40B4-BE49-F238E27FC236}">
                    <a16:creationId xmlns:a16="http://schemas.microsoft.com/office/drawing/2014/main" id="{8A2A3A87-710C-4AB9-A68E-AB7F551931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85434" y="4306528"/>
                <a:ext cx="539057" cy="461665"/>
              </a:xfrm>
              <a:prstGeom prst="rect">
                <a:avLst/>
              </a:prstGeom>
              <a:blipFill>
                <a:blip r:embed="rId5"/>
                <a:stretch>
                  <a:fillRect l="-2151"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8" name="TextBox 11">
                <a:extLst>
                  <a:ext uri="{FF2B5EF4-FFF2-40B4-BE49-F238E27FC236}">
                    <a16:creationId xmlns:a16="http://schemas.microsoft.com/office/drawing/2014/main" id="{A71803E6-42DB-43F4-9777-7BF145F8A0AE}"/>
                  </a:ext>
                </a:extLst>
              </p:cNvPr>
              <p:cNvSpPr txBox="1"/>
              <p:nvPr/>
            </p:nvSpPr>
            <p:spPr>
              <a:xfrm>
                <a:off x="9973098" y="3021844"/>
                <a:ext cx="546175" cy="461665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GB" sz="2400" b="0" i="1" dirty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GB" sz="2400" dirty="0"/>
              </a:p>
            </p:txBody>
          </p:sp>
        </mc:Choice>
        <mc:Fallback xmlns="">
          <p:sp>
            <p:nvSpPr>
              <p:cNvPr id="88" name="TextBox 11">
                <a:extLst>
                  <a:ext uri="{FF2B5EF4-FFF2-40B4-BE49-F238E27FC236}">
                    <a16:creationId xmlns:a16="http://schemas.microsoft.com/office/drawing/2014/main" id="{A71803E6-42DB-43F4-9777-7BF145F8A0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73098" y="3021844"/>
                <a:ext cx="546175" cy="461665"/>
              </a:xfrm>
              <a:prstGeom prst="rect">
                <a:avLst/>
              </a:prstGeom>
              <a:blipFill>
                <a:blip r:embed="rId6"/>
                <a:stretch>
                  <a:fillRect l="-2105"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8B989D63-BF7E-400F-9069-F18965E4CA3A}"/>
              </a:ext>
            </a:extLst>
          </p:cNvPr>
          <p:cNvGrpSpPr/>
          <p:nvPr/>
        </p:nvGrpSpPr>
        <p:grpSpPr>
          <a:xfrm flipH="1">
            <a:off x="9233565" y="3514725"/>
            <a:ext cx="1068425" cy="1179795"/>
            <a:chOff x="2697668" y="2570817"/>
            <a:chExt cx="1068425" cy="1179795"/>
          </a:xfrm>
        </p:grpSpPr>
        <p:grpSp>
          <p:nvGrpSpPr>
            <p:cNvPr id="94" name="Gruppieren 93">
              <a:extLst>
                <a:ext uri="{FF2B5EF4-FFF2-40B4-BE49-F238E27FC236}">
                  <a16:creationId xmlns:a16="http://schemas.microsoft.com/office/drawing/2014/main" id="{A1F8ADCB-7B8D-4236-9DC3-96B99D81408D}"/>
                </a:ext>
              </a:extLst>
            </p:cNvPr>
            <p:cNvGrpSpPr/>
            <p:nvPr/>
          </p:nvGrpSpPr>
          <p:grpSpPr>
            <a:xfrm>
              <a:off x="2753472" y="2581550"/>
              <a:ext cx="952213" cy="1152203"/>
              <a:chOff x="2131241" y="3552677"/>
              <a:chExt cx="952213" cy="1152203"/>
            </a:xfrm>
          </p:grpSpPr>
          <p:cxnSp>
            <p:nvCxnSpPr>
              <p:cNvPr id="97" name="Gerader Verbinder 96">
                <a:extLst>
                  <a:ext uri="{FF2B5EF4-FFF2-40B4-BE49-F238E27FC236}">
                    <a16:creationId xmlns:a16="http://schemas.microsoft.com/office/drawing/2014/main" id="{C9B92B35-71AA-468D-81B5-0867B10A2CA6}"/>
                  </a:ext>
                </a:extLst>
              </p:cNvPr>
              <p:cNvCxnSpPr>
                <a:cxnSpLocks/>
                <a:stCxn id="101" idx="7"/>
                <a:endCxn id="100" idx="7"/>
              </p:cNvCxnSpPr>
              <p:nvPr/>
            </p:nvCxnSpPr>
            <p:spPr>
              <a:xfrm>
                <a:off x="2317410" y="3588305"/>
                <a:ext cx="734103" cy="908923"/>
              </a:xfrm>
              <a:prstGeom prst="line">
                <a:avLst/>
              </a:prstGeom>
              <a:ln w="127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Gerader Verbinder 97">
                <a:extLst>
                  <a:ext uri="{FF2B5EF4-FFF2-40B4-BE49-F238E27FC236}">
                    <a16:creationId xmlns:a16="http://schemas.microsoft.com/office/drawing/2014/main" id="{869056B7-BE7C-4C29-AC84-FDE42976EA2E}"/>
                  </a:ext>
                </a:extLst>
              </p:cNvPr>
              <p:cNvCxnSpPr>
                <a:cxnSpLocks/>
                <a:stCxn id="101" idx="3"/>
                <a:endCxn id="100" idx="3"/>
              </p:cNvCxnSpPr>
              <p:nvPr/>
            </p:nvCxnSpPr>
            <p:spPr>
              <a:xfrm>
                <a:off x="2163182" y="3760329"/>
                <a:ext cx="734103" cy="908923"/>
              </a:xfrm>
              <a:prstGeom prst="line">
                <a:avLst/>
              </a:prstGeom>
              <a:ln w="127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9" name="Textfeld 98">
                <a:extLst>
                  <a:ext uri="{FF2B5EF4-FFF2-40B4-BE49-F238E27FC236}">
                    <a16:creationId xmlns:a16="http://schemas.microsoft.com/office/drawing/2014/main" id="{A5AB2256-5E28-4AF7-9EBC-CA0913CEB53D}"/>
                  </a:ext>
                </a:extLst>
              </p:cNvPr>
              <p:cNvSpPr txBox="1"/>
              <p:nvPr/>
            </p:nvSpPr>
            <p:spPr>
              <a:xfrm rot="3053154">
                <a:off x="2114775" y="3987411"/>
                <a:ext cx="1000659" cy="276999"/>
              </a:xfrm>
              <a:prstGeom prst="rect">
                <a:avLst/>
              </a:prstGeom>
              <a:noFill/>
              <a:ln>
                <a:noFill/>
                <a:prstDash val="dashDot"/>
              </a:ln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SSH-Tunnel 2</a:t>
                </a:r>
              </a:p>
            </p:txBody>
          </p:sp>
          <p:sp>
            <p:nvSpPr>
              <p:cNvPr id="100" name="Ellipse 99">
                <a:extLst>
                  <a:ext uri="{FF2B5EF4-FFF2-40B4-BE49-F238E27FC236}">
                    <a16:creationId xmlns:a16="http://schemas.microsoft.com/office/drawing/2014/main" id="{E96E3BB6-D09E-46DF-B545-C2FB83BEE911}"/>
                  </a:ext>
                </a:extLst>
              </p:cNvPr>
              <p:cNvSpPr/>
              <p:nvPr/>
            </p:nvSpPr>
            <p:spPr>
              <a:xfrm>
                <a:off x="2865344" y="4461600"/>
                <a:ext cx="218110" cy="24328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1" name="Ellipse 100">
                <a:extLst>
                  <a:ext uri="{FF2B5EF4-FFF2-40B4-BE49-F238E27FC236}">
                    <a16:creationId xmlns:a16="http://schemas.microsoft.com/office/drawing/2014/main" id="{13677EF9-A143-43BB-BC82-373EEB0C3194}"/>
                  </a:ext>
                </a:extLst>
              </p:cNvPr>
              <p:cNvSpPr/>
              <p:nvPr/>
            </p:nvSpPr>
            <p:spPr>
              <a:xfrm>
                <a:off x="2131241" y="3552677"/>
                <a:ext cx="218110" cy="24328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95" name="Textfeld 94">
              <a:extLst>
                <a:ext uri="{FF2B5EF4-FFF2-40B4-BE49-F238E27FC236}">
                  <a16:creationId xmlns:a16="http://schemas.microsoft.com/office/drawing/2014/main" id="{94093CC1-721A-42D0-94B5-9E695E5A437C}"/>
                </a:ext>
              </a:extLst>
            </p:cNvPr>
            <p:cNvSpPr txBox="1"/>
            <p:nvPr/>
          </p:nvSpPr>
          <p:spPr>
            <a:xfrm>
              <a:off x="2697668" y="2570817"/>
              <a:ext cx="341760" cy="276999"/>
            </a:xfrm>
            <a:prstGeom prst="rect">
              <a:avLst/>
            </a:prstGeom>
            <a:noFill/>
            <a:ln>
              <a:noFill/>
              <a:prstDash val="dashDot"/>
            </a:ln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22</a:t>
              </a:r>
            </a:p>
          </p:txBody>
        </p:sp>
        <p:sp>
          <p:nvSpPr>
            <p:cNvPr id="96" name="Textfeld 95">
              <a:extLst>
                <a:ext uri="{FF2B5EF4-FFF2-40B4-BE49-F238E27FC236}">
                  <a16:creationId xmlns:a16="http://schemas.microsoft.com/office/drawing/2014/main" id="{F98F46B6-86ED-47CC-814C-7BF16CAE1F5C}"/>
                </a:ext>
              </a:extLst>
            </p:cNvPr>
            <p:cNvSpPr txBox="1"/>
            <p:nvPr/>
          </p:nvSpPr>
          <p:spPr>
            <a:xfrm>
              <a:off x="3424333" y="3473613"/>
              <a:ext cx="341760" cy="276999"/>
            </a:xfrm>
            <a:prstGeom prst="rect">
              <a:avLst/>
            </a:prstGeom>
            <a:noFill/>
            <a:ln>
              <a:noFill/>
              <a:prstDash val="dashDot"/>
            </a:ln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22</a:t>
              </a:r>
            </a:p>
          </p:txBody>
        </p:sp>
      </p:grpSp>
      <p:grpSp>
        <p:nvGrpSpPr>
          <p:cNvPr id="102" name="Gruppieren 101">
            <a:extLst>
              <a:ext uri="{FF2B5EF4-FFF2-40B4-BE49-F238E27FC236}">
                <a16:creationId xmlns:a16="http://schemas.microsoft.com/office/drawing/2014/main" id="{224A3C5B-24E6-419D-82B6-C7325C221EA1}"/>
              </a:ext>
            </a:extLst>
          </p:cNvPr>
          <p:cNvGrpSpPr/>
          <p:nvPr/>
        </p:nvGrpSpPr>
        <p:grpSpPr>
          <a:xfrm>
            <a:off x="10314032" y="3529367"/>
            <a:ext cx="435229" cy="527331"/>
            <a:chOff x="2131241" y="3552677"/>
            <a:chExt cx="435229" cy="527331"/>
          </a:xfrm>
        </p:grpSpPr>
        <p:cxnSp>
          <p:nvCxnSpPr>
            <p:cNvPr id="103" name="Gerader Verbinder 102">
              <a:extLst>
                <a:ext uri="{FF2B5EF4-FFF2-40B4-BE49-F238E27FC236}">
                  <a16:creationId xmlns:a16="http://schemas.microsoft.com/office/drawing/2014/main" id="{435039FE-FC3F-4A6D-9DD2-F4312B4D80A3}"/>
                </a:ext>
              </a:extLst>
            </p:cNvPr>
            <p:cNvCxnSpPr>
              <a:cxnSpLocks/>
              <a:stCxn id="105" idx="7"/>
            </p:cNvCxnSpPr>
            <p:nvPr/>
          </p:nvCxnSpPr>
          <p:spPr>
            <a:xfrm>
              <a:off x="2317410" y="3588305"/>
              <a:ext cx="249060" cy="319679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r Verbinder 103">
              <a:extLst>
                <a:ext uri="{FF2B5EF4-FFF2-40B4-BE49-F238E27FC236}">
                  <a16:creationId xmlns:a16="http://schemas.microsoft.com/office/drawing/2014/main" id="{75E33A18-DF9B-425D-B502-E5CBAA41E06C}"/>
                </a:ext>
              </a:extLst>
            </p:cNvPr>
            <p:cNvCxnSpPr>
              <a:cxnSpLocks/>
              <a:stCxn id="105" idx="3"/>
            </p:cNvCxnSpPr>
            <p:nvPr/>
          </p:nvCxnSpPr>
          <p:spPr>
            <a:xfrm>
              <a:off x="2163182" y="3760329"/>
              <a:ext cx="249060" cy="319679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5" name="Ellipse 104">
              <a:extLst>
                <a:ext uri="{FF2B5EF4-FFF2-40B4-BE49-F238E27FC236}">
                  <a16:creationId xmlns:a16="http://schemas.microsoft.com/office/drawing/2014/main" id="{89CB265E-FCB4-4CCD-96C6-8D2B26CB8E3C}"/>
                </a:ext>
              </a:extLst>
            </p:cNvPr>
            <p:cNvSpPr/>
            <p:nvPr/>
          </p:nvSpPr>
          <p:spPr>
            <a:xfrm>
              <a:off x="2131241" y="3552677"/>
              <a:ext cx="218110" cy="24328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06" name="Textfeld 105">
            <a:extLst>
              <a:ext uri="{FF2B5EF4-FFF2-40B4-BE49-F238E27FC236}">
                <a16:creationId xmlns:a16="http://schemas.microsoft.com/office/drawing/2014/main" id="{3CF05F07-1C5A-4B3E-993B-7F82D9F47156}"/>
              </a:ext>
            </a:extLst>
          </p:cNvPr>
          <p:cNvSpPr txBox="1"/>
          <p:nvPr/>
        </p:nvSpPr>
        <p:spPr>
          <a:xfrm rot="3053154">
            <a:off x="10466058" y="3708840"/>
            <a:ext cx="300082" cy="276999"/>
          </a:xfrm>
          <a:prstGeom prst="rect">
            <a:avLst/>
          </a:prstGeom>
          <a:noFill/>
          <a:ln>
            <a:noFill/>
            <a:prstDash val="dashDot"/>
          </a:ln>
        </p:spPr>
        <p:txBody>
          <a:bodyPr wrap="none" rtlCol="0">
            <a:spAutoFit/>
          </a:bodyPr>
          <a:lstStyle/>
          <a:p>
            <a:r>
              <a:rPr lang="de-DE" sz="1200" dirty="0"/>
              <a:t>…</a:t>
            </a:r>
          </a:p>
        </p:txBody>
      </p:sp>
      <p:sp>
        <p:nvSpPr>
          <p:cNvPr id="114" name="Textfeld 113">
            <a:extLst>
              <a:ext uri="{FF2B5EF4-FFF2-40B4-BE49-F238E27FC236}">
                <a16:creationId xmlns:a16="http://schemas.microsoft.com/office/drawing/2014/main" id="{312C01B8-3A07-47A2-98E2-8EAA131E46F0}"/>
              </a:ext>
            </a:extLst>
          </p:cNvPr>
          <p:cNvSpPr txBox="1"/>
          <p:nvPr/>
        </p:nvSpPr>
        <p:spPr>
          <a:xfrm>
            <a:off x="8456485" y="3047540"/>
            <a:ext cx="916467" cy="430887"/>
          </a:xfrm>
          <a:prstGeom prst="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050" dirty="0" err="1"/>
              <a:t>Forwarded</a:t>
            </a:r>
            <a:r>
              <a:rPr lang="de-DE" sz="1050" dirty="0"/>
              <a:t> </a:t>
            </a:r>
            <a:r>
              <a:rPr lang="de-DE" sz="1050" dirty="0" err="1"/>
              <a:t>ports</a:t>
            </a:r>
            <a:endParaRPr lang="de-DE" sz="1050" dirty="0"/>
          </a:p>
        </p:txBody>
      </p: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EC834438-59BF-4BEB-8E7A-ADF86FACEA5D}"/>
              </a:ext>
            </a:extLst>
          </p:cNvPr>
          <p:cNvCxnSpPr>
            <a:cxnSpLocks/>
          </p:cNvCxnSpPr>
          <p:nvPr/>
        </p:nvCxnSpPr>
        <p:spPr>
          <a:xfrm flipH="1">
            <a:off x="7951375" y="3319565"/>
            <a:ext cx="731317" cy="236290"/>
          </a:xfrm>
          <a:prstGeom prst="straightConnector1">
            <a:avLst/>
          </a:prstGeom>
          <a:ln w="3175">
            <a:solidFill>
              <a:schemeClr val="tx1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538F2630-7F05-4CFF-BF17-32CDFF3D7E80}"/>
              </a:ext>
            </a:extLst>
          </p:cNvPr>
          <p:cNvCxnSpPr>
            <a:cxnSpLocks/>
          </p:cNvCxnSpPr>
          <p:nvPr/>
        </p:nvCxnSpPr>
        <p:spPr>
          <a:xfrm>
            <a:off x="9131291" y="3325915"/>
            <a:ext cx="835353" cy="239080"/>
          </a:xfrm>
          <a:prstGeom prst="straightConnector1">
            <a:avLst/>
          </a:prstGeom>
          <a:ln w="3175">
            <a:solidFill>
              <a:schemeClr val="tx1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11">
            <a:extLst>
              <a:ext uri="{FF2B5EF4-FFF2-40B4-BE49-F238E27FC236}">
                <a16:creationId xmlns:a16="http://schemas.microsoft.com/office/drawing/2014/main" id="{8E25744C-0848-4185-A12A-4A75879C21F0}"/>
              </a:ext>
            </a:extLst>
          </p:cNvPr>
          <p:cNvSpPr txBox="1"/>
          <p:nvPr/>
        </p:nvSpPr>
        <p:spPr>
          <a:xfrm>
            <a:off x="8399201" y="4762153"/>
            <a:ext cx="1032655" cy="276999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GB" sz="1200" dirty="0"/>
              <a:t>SSH-daemon</a:t>
            </a:r>
            <a:endParaRPr lang="en-GB" sz="1600" dirty="0"/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1BE19139-4214-4DE8-936D-EA7003CBC8CE}"/>
              </a:ext>
            </a:extLst>
          </p:cNvPr>
          <p:cNvSpPr txBox="1"/>
          <p:nvPr/>
        </p:nvSpPr>
        <p:spPr>
          <a:xfrm>
            <a:off x="7243578" y="2745667"/>
            <a:ext cx="1032655" cy="276999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GB" sz="1200" dirty="0"/>
              <a:t>SSH-daemon</a:t>
            </a:r>
            <a:endParaRPr lang="en-GB" sz="1600" dirty="0"/>
          </a:p>
        </p:txBody>
      </p:sp>
      <p:sp>
        <p:nvSpPr>
          <p:cNvPr id="9" name="TextBox 11">
            <a:extLst>
              <a:ext uri="{FF2B5EF4-FFF2-40B4-BE49-F238E27FC236}">
                <a16:creationId xmlns:a16="http://schemas.microsoft.com/office/drawing/2014/main" id="{BF548DC1-E4B9-458E-8C4B-C664A6CF52EA}"/>
              </a:ext>
            </a:extLst>
          </p:cNvPr>
          <p:cNvSpPr txBox="1"/>
          <p:nvPr/>
        </p:nvSpPr>
        <p:spPr>
          <a:xfrm>
            <a:off x="9712062" y="2742942"/>
            <a:ext cx="1032655" cy="276999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GB" sz="1200" dirty="0"/>
              <a:t>SSH-daemon</a:t>
            </a:r>
            <a:endParaRPr lang="en-GB" sz="1600" dirty="0"/>
          </a:p>
        </p:txBody>
      </p:sp>
      <p:sp>
        <p:nvSpPr>
          <p:cNvPr id="11" name="TextBox 11">
            <a:extLst>
              <a:ext uri="{FF2B5EF4-FFF2-40B4-BE49-F238E27FC236}">
                <a16:creationId xmlns:a16="http://schemas.microsoft.com/office/drawing/2014/main" id="{42C2E51F-4755-4E5F-8D07-E6D3ABEAE61C}"/>
              </a:ext>
            </a:extLst>
          </p:cNvPr>
          <p:cNvSpPr txBox="1"/>
          <p:nvPr/>
        </p:nvSpPr>
        <p:spPr>
          <a:xfrm>
            <a:off x="10851467" y="4546538"/>
            <a:ext cx="932913" cy="36933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Server</a:t>
            </a:r>
            <a:endParaRPr lang="en-GB" sz="2400" dirty="0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79181B45-51AE-49EE-8DFC-035AD1BE4F0A}"/>
              </a:ext>
            </a:extLst>
          </p:cNvPr>
          <p:cNvGrpSpPr/>
          <p:nvPr/>
        </p:nvGrpSpPr>
        <p:grpSpPr>
          <a:xfrm>
            <a:off x="10668137" y="3998856"/>
            <a:ext cx="436175" cy="500250"/>
            <a:chOff x="9675216" y="4070938"/>
            <a:chExt cx="436175" cy="500250"/>
          </a:xfrm>
        </p:grpSpPr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308C2252-A9A3-4880-97F4-D2AEEF50E166}"/>
                </a:ext>
              </a:extLst>
            </p:cNvPr>
            <p:cNvGrpSpPr/>
            <p:nvPr/>
          </p:nvGrpSpPr>
          <p:grpSpPr>
            <a:xfrm>
              <a:off x="9675216" y="4070938"/>
              <a:ext cx="436175" cy="500250"/>
              <a:chOff x="9383652" y="3753291"/>
              <a:chExt cx="436175" cy="500250"/>
            </a:xfrm>
          </p:grpSpPr>
          <p:cxnSp>
            <p:nvCxnSpPr>
              <p:cNvPr id="126" name="Gerader Verbinder 125">
                <a:extLst>
                  <a:ext uri="{FF2B5EF4-FFF2-40B4-BE49-F238E27FC236}">
                    <a16:creationId xmlns:a16="http://schemas.microsoft.com/office/drawing/2014/main" id="{C3814365-EADC-4845-9351-9C16E59740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1983" y="3753291"/>
                <a:ext cx="249060" cy="319679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r Verbinder 126">
                <a:extLst>
                  <a:ext uri="{FF2B5EF4-FFF2-40B4-BE49-F238E27FC236}">
                    <a16:creationId xmlns:a16="http://schemas.microsoft.com/office/drawing/2014/main" id="{099FCC69-2179-4B9D-B440-7438CD6C31D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383652" y="3901124"/>
                <a:ext cx="249060" cy="319679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8" name="Ellipse 127">
                <a:extLst>
                  <a:ext uri="{FF2B5EF4-FFF2-40B4-BE49-F238E27FC236}">
                    <a16:creationId xmlns:a16="http://schemas.microsoft.com/office/drawing/2014/main" id="{C774A2C5-AC77-4EAE-AF6D-9121BA3B6AEB}"/>
                  </a:ext>
                </a:extLst>
              </p:cNvPr>
              <p:cNvSpPr/>
              <p:nvPr/>
            </p:nvSpPr>
            <p:spPr>
              <a:xfrm>
                <a:off x="9601717" y="4010261"/>
                <a:ext cx="218110" cy="24328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</p:grp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6CF08B9E-AEEB-41A7-9566-605FC2D8BC73}"/>
                </a:ext>
              </a:extLst>
            </p:cNvPr>
            <p:cNvSpPr txBox="1"/>
            <p:nvPr/>
          </p:nvSpPr>
          <p:spPr>
            <a:xfrm rot="3053154">
              <a:off x="9712255" y="4092277"/>
              <a:ext cx="300082" cy="276999"/>
            </a:xfrm>
            <a:prstGeom prst="rect">
              <a:avLst/>
            </a:prstGeom>
            <a:noFill/>
            <a:ln>
              <a:noFill/>
              <a:prstDash val="dashDot"/>
            </a:ln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…</a:t>
              </a:r>
            </a:p>
          </p:txBody>
        </p:sp>
      </p:grpSp>
      <p:sp>
        <p:nvSpPr>
          <p:cNvPr id="14" name="Textfeld 13">
            <a:extLst>
              <a:ext uri="{FF2B5EF4-FFF2-40B4-BE49-F238E27FC236}">
                <a16:creationId xmlns:a16="http://schemas.microsoft.com/office/drawing/2014/main" id="{90FBB6C1-490A-4467-BECE-A9AEC99A9156}"/>
              </a:ext>
            </a:extLst>
          </p:cNvPr>
          <p:cNvSpPr txBox="1"/>
          <p:nvPr/>
        </p:nvSpPr>
        <p:spPr>
          <a:xfrm>
            <a:off x="7105650" y="2237697"/>
            <a:ext cx="4772025" cy="369332"/>
          </a:xfrm>
          <a:prstGeom prst="rect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Virtual network in Docker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8490441-E494-4BD5-AE11-469727E2824E}"/>
              </a:ext>
            </a:extLst>
          </p:cNvPr>
          <p:cNvSpPr/>
          <p:nvPr/>
        </p:nvSpPr>
        <p:spPr>
          <a:xfrm>
            <a:off x="7105650" y="2608719"/>
            <a:ext cx="4772025" cy="2610981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50194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2044A-0FD2-48A0-A969-AF865396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8320791" cy="1325563"/>
          </a:xfrm>
        </p:spPr>
        <p:txBody>
          <a:bodyPr/>
          <a:lstStyle/>
          <a:p>
            <a:r>
              <a:rPr lang="en-US" sz="4000" dirty="0">
                <a:latin typeface="Trebuchet MS" panose="020B0703020202090204" pitchFamily="34" charset="0"/>
              </a:rPr>
              <a:t>Data generation set-up</a:t>
            </a:r>
            <a:endParaRPr lang="en-US" dirty="0">
              <a:latin typeface="Trebuchet MS" panose="020B0703020202090204" pitchFamily="34" charset="0"/>
              <a:cs typeface="Calibri Light"/>
            </a:endParaRPr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36A558D7-BBF3-3842-A595-122FBA174F4D}"/>
              </a:ext>
            </a:extLst>
          </p:cNvPr>
          <p:cNvGrpSpPr/>
          <p:nvPr/>
        </p:nvGrpSpPr>
        <p:grpSpPr>
          <a:xfrm>
            <a:off x="11093982" y="-14990"/>
            <a:ext cx="1097280" cy="1054387"/>
            <a:chOff x="11093982" y="-14990"/>
            <a:chExt cx="1097280" cy="1054387"/>
          </a:xfrm>
        </p:grpSpPr>
        <p:sp>
          <p:nvSpPr>
            <p:cNvPr id="90" name="NavigationTriangle">
              <a:extLst>
                <a:ext uri="{FF2B5EF4-FFF2-40B4-BE49-F238E27FC236}">
                  <a16:creationId xmlns:a16="http://schemas.microsoft.com/office/drawing/2014/main" id="{75CC37CB-0FDB-9C4D-B950-F045669F9AB9}"/>
                </a:ext>
              </a:extLst>
            </p:cNvPr>
            <p:cNvSpPr/>
            <p:nvPr/>
          </p:nvSpPr>
          <p:spPr>
            <a:xfrm rot="16200000">
              <a:off x="11115428" y="-36436"/>
              <a:ext cx="1054387" cy="1097280"/>
            </a:xfrm>
            <a:prstGeom prst="triangle">
              <a:avLst>
                <a:gd name="adj" fmla="val 100000"/>
              </a:avLst>
            </a:prstGeom>
            <a:solidFill>
              <a:schemeClr val="tx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91" name="NavigationIcon">
              <a:extLst>
                <a:ext uri="{FF2B5EF4-FFF2-40B4-BE49-F238E27FC236}">
                  <a16:creationId xmlns:a16="http://schemas.microsoft.com/office/drawing/2014/main" id="{248BB64A-2681-154D-A068-C8F7AB78918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1698236" y="122285"/>
              <a:ext cx="365760" cy="3657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/>
                <a:t>2</a:t>
              </a:r>
            </a:p>
          </p:txBody>
        </p:sp>
      </p:grpSp>
      <p:cxnSp>
        <p:nvCxnSpPr>
          <p:cNvPr id="184" name="Gerade Verbindung mit Pfeil 183">
            <a:extLst>
              <a:ext uri="{FF2B5EF4-FFF2-40B4-BE49-F238E27FC236}">
                <a16:creationId xmlns:a16="http://schemas.microsoft.com/office/drawing/2014/main" id="{BD998EAD-7DDC-4BFB-AF2F-7D88961303C6}"/>
              </a:ext>
            </a:extLst>
          </p:cNvPr>
          <p:cNvCxnSpPr>
            <a:cxnSpLocks/>
          </p:cNvCxnSpPr>
          <p:nvPr/>
        </p:nvCxnSpPr>
        <p:spPr>
          <a:xfrm>
            <a:off x="7808737" y="1274897"/>
            <a:ext cx="196188" cy="2662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5" name="Gruppieren 184">
            <a:extLst>
              <a:ext uri="{FF2B5EF4-FFF2-40B4-BE49-F238E27FC236}">
                <a16:creationId xmlns:a16="http://schemas.microsoft.com/office/drawing/2014/main" id="{0E7A0896-01B8-4BA0-86AD-CC56572206E4}"/>
              </a:ext>
            </a:extLst>
          </p:cNvPr>
          <p:cNvGrpSpPr/>
          <p:nvPr/>
        </p:nvGrpSpPr>
        <p:grpSpPr>
          <a:xfrm>
            <a:off x="7774994" y="988951"/>
            <a:ext cx="1068425" cy="1179795"/>
            <a:chOff x="2697668" y="2570817"/>
            <a:chExt cx="1068425" cy="1179795"/>
          </a:xfrm>
        </p:grpSpPr>
        <p:grpSp>
          <p:nvGrpSpPr>
            <p:cNvPr id="186" name="Gruppieren 185">
              <a:extLst>
                <a:ext uri="{FF2B5EF4-FFF2-40B4-BE49-F238E27FC236}">
                  <a16:creationId xmlns:a16="http://schemas.microsoft.com/office/drawing/2014/main" id="{A2662DD4-63CC-4E42-AC2F-A10EF0CC9022}"/>
                </a:ext>
              </a:extLst>
            </p:cNvPr>
            <p:cNvGrpSpPr/>
            <p:nvPr/>
          </p:nvGrpSpPr>
          <p:grpSpPr>
            <a:xfrm>
              <a:off x="2753472" y="2581550"/>
              <a:ext cx="952213" cy="1152203"/>
              <a:chOff x="2131241" y="3552677"/>
              <a:chExt cx="952213" cy="1152203"/>
            </a:xfrm>
          </p:grpSpPr>
          <p:cxnSp>
            <p:nvCxnSpPr>
              <p:cNvPr id="189" name="Gerader Verbinder 188">
                <a:extLst>
                  <a:ext uri="{FF2B5EF4-FFF2-40B4-BE49-F238E27FC236}">
                    <a16:creationId xmlns:a16="http://schemas.microsoft.com/office/drawing/2014/main" id="{A8E6264F-2185-42D5-BAF2-84CA2CE03107}"/>
                  </a:ext>
                </a:extLst>
              </p:cNvPr>
              <p:cNvCxnSpPr>
                <a:cxnSpLocks/>
                <a:stCxn id="193" idx="7"/>
                <a:endCxn id="192" idx="7"/>
              </p:cNvCxnSpPr>
              <p:nvPr/>
            </p:nvCxnSpPr>
            <p:spPr>
              <a:xfrm>
                <a:off x="2317410" y="3588305"/>
                <a:ext cx="734103" cy="908923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r Verbinder 189">
                <a:extLst>
                  <a:ext uri="{FF2B5EF4-FFF2-40B4-BE49-F238E27FC236}">
                    <a16:creationId xmlns:a16="http://schemas.microsoft.com/office/drawing/2014/main" id="{ECD541B0-DAB1-4374-AA0A-F5DDF29E4ED9}"/>
                  </a:ext>
                </a:extLst>
              </p:cNvPr>
              <p:cNvCxnSpPr>
                <a:cxnSpLocks/>
                <a:stCxn id="193" idx="3"/>
                <a:endCxn id="192" idx="3"/>
              </p:cNvCxnSpPr>
              <p:nvPr/>
            </p:nvCxnSpPr>
            <p:spPr>
              <a:xfrm>
                <a:off x="2163182" y="3760329"/>
                <a:ext cx="734103" cy="908923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83F0333A-AEB1-421C-8BC0-0A43CED239D2}"/>
                  </a:ext>
                </a:extLst>
              </p:cNvPr>
              <p:cNvSpPr txBox="1"/>
              <p:nvPr/>
            </p:nvSpPr>
            <p:spPr>
              <a:xfrm rot="3053154">
                <a:off x="2114775" y="3987411"/>
                <a:ext cx="1000659" cy="276999"/>
              </a:xfrm>
              <a:prstGeom prst="rect">
                <a:avLst/>
              </a:prstGeom>
              <a:noFill/>
              <a:ln>
                <a:noFill/>
                <a:prstDash val="dashDot"/>
              </a:ln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SSH-Tunnel 1</a:t>
                </a:r>
              </a:p>
            </p:txBody>
          </p:sp>
          <p:sp>
            <p:nvSpPr>
              <p:cNvPr id="192" name="Ellipse 191">
                <a:extLst>
                  <a:ext uri="{FF2B5EF4-FFF2-40B4-BE49-F238E27FC236}">
                    <a16:creationId xmlns:a16="http://schemas.microsoft.com/office/drawing/2014/main" id="{C52EB0DE-BAD6-41AB-BCBA-F6294BB768B5}"/>
                  </a:ext>
                </a:extLst>
              </p:cNvPr>
              <p:cNvSpPr/>
              <p:nvPr/>
            </p:nvSpPr>
            <p:spPr>
              <a:xfrm>
                <a:off x="2865344" y="4461600"/>
                <a:ext cx="218110" cy="243280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93" name="Ellipse 192">
                <a:extLst>
                  <a:ext uri="{FF2B5EF4-FFF2-40B4-BE49-F238E27FC236}">
                    <a16:creationId xmlns:a16="http://schemas.microsoft.com/office/drawing/2014/main" id="{784380AC-13A4-49D5-B840-AF0CFE43748C}"/>
                  </a:ext>
                </a:extLst>
              </p:cNvPr>
              <p:cNvSpPr/>
              <p:nvPr/>
            </p:nvSpPr>
            <p:spPr>
              <a:xfrm>
                <a:off x="2131241" y="3552677"/>
                <a:ext cx="218110" cy="243280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87" name="Textfeld 186">
              <a:extLst>
                <a:ext uri="{FF2B5EF4-FFF2-40B4-BE49-F238E27FC236}">
                  <a16:creationId xmlns:a16="http://schemas.microsoft.com/office/drawing/2014/main" id="{291B2EE0-A146-4423-B2C2-F49E1325B727}"/>
                </a:ext>
              </a:extLst>
            </p:cNvPr>
            <p:cNvSpPr txBox="1"/>
            <p:nvPr/>
          </p:nvSpPr>
          <p:spPr>
            <a:xfrm>
              <a:off x="2697668" y="2570817"/>
              <a:ext cx="341760" cy="276999"/>
            </a:xfrm>
            <a:prstGeom prst="rect">
              <a:avLst/>
            </a:prstGeom>
            <a:noFill/>
            <a:ln>
              <a:noFill/>
              <a:prstDash val="dashDot"/>
            </a:ln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22</a:t>
              </a:r>
            </a:p>
          </p:txBody>
        </p:sp>
        <p:sp>
          <p:nvSpPr>
            <p:cNvPr id="188" name="Textfeld 187">
              <a:extLst>
                <a:ext uri="{FF2B5EF4-FFF2-40B4-BE49-F238E27FC236}">
                  <a16:creationId xmlns:a16="http://schemas.microsoft.com/office/drawing/2014/main" id="{05CE123E-5D46-4798-BC73-8192FEAEB677}"/>
                </a:ext>
              </a:extLst>
            </p:cNvPr>
            <p:cNvSpPr txBox="1"/>
            <p:nvPr/>
          </p:nvSpPr>
          <p:spPr>
            <a:xfrm>
              <a:off x="3424333" y="3473613"/>
              <a:ext cx="341760" cy="276999"/>
            </a:xfrm>
            <a:prstGeom prst="rect">
              <a:avLst/>
            </a:prstGeom>
            <a:noFill/>
            <a:ln>
              <a:noFill/>
              <a:prstDash val="dashDot"/>
            </a:ln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22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94" name="TextBox 11">
                <a:extLst>
                  <a:ext uri="{FF2B5EF4-FFF2-40B4-BE49-F238E27FC236}">
                    <a16:creationId xmlns:a16="http://schemas.microsoft.com/office/drawing/2014/main" id="{E0819E7D-004E-4A66-BB28-432D755108C0}"/>
                  </a:ext>
                </a:extLst>
              </p:cNvPr>
              <p:cNvSpPr txBox="1"/>
              <p:nvPr/>
            </p:nvSpPr>
            <p:spPr>
              <a:xfrm>
                <a:off x="7689662" y="506803"/>
                <a:ext cx="469487" cy="461665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𝑂</m:t>
                      </m:r>
                    </m:oMath>
                  </m:oMathPara>
                </a14:m>
                <a:endParaRPr lang="en-GB" sz="2400" dirty="0"/>
              </a:p>
            </p:txBody>
          </p:sp>
        </mc:Choice>
        <mc:Fallback xmlns="">
          <p:sp>
            <p:nvSpPr>
              <p:cNvPr id="194" name="TextBox 11">
                <a:extLst>
                  <a:ext uri="{FF2B5EF4-FFF2-40B4-BE49-F238E27FC236}">
                    <a16:creationId xmlns:a16="http://schemas.microsoft.com/office/drawing/2014/main" id="{E0819E7D-004E-4A66-BB28-432D755108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89662" y="506803"/>
                <a:ext cx="469487" cy="461665"/>
              </a:xfrm>
              <a:prstGeom prst="rect">
                <a:avLst/>
              </a:prstGeom>
              <a:blipFill>
                <a:blip r:embed="rId4"/>
                <a:stretch>
                  <a:fillRect l="-2439"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5" name="TextBox 11">
                <a:extLst>
                  <a:ext uri="{FF2B5EF4-FFF2-40B4-BE49-F238E27FC236}">
                    <a16:creationId xmlns:a16="http://schemas.microsoft.com/office/drawing/2014/main" id="{A1C5730B-BBEA-4E55-A968-B505143430FC}"/>
                  </a:ext>
                </a:extLst>
              </p:cNvPr>
              <p:cNvSpPr txBox="1"/>
              <p:nvPr/>
            </p:nvSpPr>
            <p:spPr>
              <a:xfrm>
                <a:off x="8841859" y="1791487"/>
                <a:ext cx="539057" cy="461665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GB" sz="2400" dirty="0"/>
              </a:p>
            </p:txBody>
          </p:sp>
        </mc:Choice>
        <mc:Fallback xmlns="">
          <p:sp>
            <p:nvSpPr>
              <p:cNvPr id="195" name="TextBox 11">
                <a:extLst>
                  <a:ext uri="{FF2B5EF4-FFF2-40B4-BE49-F238E27FC236}">
                    <a16:creationId xmlns:a16="http://schemas.microsoft.com/office/drawing/2014/main" id="{A1C5730B-BBEA-4E55-A968-B505143430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41859" y="1791487"/>
                <a:ext cx="539057" cy="461665"/>
              </a:xfrm>
              <a:prstGeom prst="rect">
                <a:avLst/>
              </a:prstGeom>
              <a:blipFill>
                <a:blip r:embed="rId5"/>
                <a:stretch>
                  <a:fillRect l="-2128"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6" name="TextBox 11">
                <a:extLst>
                  <a:ext uri="{FF2B5EF4-FFF2-40B4-BE49-F238E27FC236}">
                    <a16:creationId xmlns:a16="http://schemas.microsoft.com/office/drawing/2014/main" id="{24D9371E-2990-4D0D-83F4-606EC634D193}"/>
                  </a:ext>
                </a:extLst>
              </p:cNvPr>
              <p:cNvSpPr txBox="1"/>
              <p:nvPr/>
            </p:nvSpPr>
            <p:spPr>
              <a:xfrm>
                <a:off x="10129523" y="506803"/>
                <a:ext cx="546175" cy="461665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GB" sz="2400" b="0" i="1" dirty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GB" sz="2400" dirty="0"/>
              </a:p>
            </p:txBody>
          </p:sp>
        </mc:Choice>
        <mc:Fallback xmlns="">
          <p:sp>
            <p:nvSpPr>
              <p:cNvPr id="196" name="TextBox 11">
                <a:extLst>
                  <a:ext uri="{FF2B5EF4-FFF2-40B4-BE49-F238E27FC236}">
                    <a16:creationId xmlns:a16="http://schemas.microsoft.com/office/drawing/2014/main" id="{24D9371E-2990-4D0D-83F4-606EC634D1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29523" y="506803"/>
                <a:ext cx="546175" cy="461665"/>
              </a:xfrm>
              <a:prstGeom prst="rect">
                <a:avLst/>
              </a:prstGeom>
              <a:blipFill>
                <a:blip r:embed="rId6"/>
                <a:stretch>
                  <a:fillRect l="-2128"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ABC2B113-B556-42E8-8E4F-445CA5E326A6}"/>
              </a:ext>
            </a:extLst>
          </p:cNvPr>
          <p:cNvGrpSpPr/>
          <p:nvPr/>
        </p:nvGrpSpPr>
        <p:grpSpPr>
          <a:xfrm flipH="1">
            <a:off x="9389990" y="999684"/>
            <a:ext cx="1068425" cy="1179795"/>
            <a:chOff x="2697668" y="2570817"/>
            <a:chExt cx="1068425" cy="1179795"/>
          </a:xfrm>
        </p:grpSpPr>
        <p:grpSp>
          <p:nvGrpSpPr>
            <p:cNvPr id="198" name="Gruppieren 197">
              <a:extLst>
                <a:ext uri="{FF2B5EF4-FFF2-40B4-BE49-F238E27FC236}">
                  <a16:creationId xmlns:a16="http://schemas.microsoft.com/office/drawing/2014/main" id="{015B3559-72E7-4EAC-9493-155380080F72}"/>
                </a:ext>
              </a:extLst>
            </p:cNvPr>
            <p:cNvGrpSpPr/>
            <p:nvPr/>
          </p:nvGrpSpPr>
          <p:grpSpPr>
            <a:xfrm>
              <a:off x="2753472" y="2581550"/>
              <a:ext cx="952213" cy="1152203"/>
              <a:chOff x="2131241" y="3552677"/>
              <a:chExt cx="952213" cy="1152203"/>
            </a:xfrm>
          </p:grpSpPr>
          <p:cxnSp>
            <p:nvCxnSpPr>
              <p:cNvPr id="201" name="Gerader Verbinder 200">
                <a:extLst>
                  <a:ext uri="{FF2B5EF4-FFF2-40B4-BE49-F238E27FC236}">
                    <a16:creationId xmlns:a16="http://schemas.microsoft.com/office/drawing/2014/main" id="{EB11F342-3150-4CB2-9757-665DACA9EBCF}"/>
                  </a:ext>
                </a:extLst>
              </p:cNvPr>
              <p:cNvCxnSpPr>
                <a:cxnSpLocks/>
                <a:stCxn id="205" idx="7"/>
                <a:endCxn id="204" idx="7"/>
              </p:cNvCxnSpPr>
              <p:nvPr/>
            </p:nvCxnSpPr>
            <p:spPr>
              <a:xfrm>
                <a:off x="2317410" y="3588305"/>
                <a:ext cx="734103" cy="908923"/>
              </a:xfrm>
              <a:prstGeom prst="line">
                <a:avLst/>
              </a:prstGeom>
              <a:ln w="127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Gerader Verbinder 201">
                <a:extLst>
                  <a:ext uri="{FF2B5EF4-FFF2-40B4-BE49-F238E27FC236}">
                    <a16:creationId xmlns:a16="http://schemas.microsoft.com/office/drawing/2014/main" id="{CAA27160-14FD-4F66-92B5-0A5C0D16BFD9}"/>
                  </a:ext>
                </a:extLst>
              </p:cNvPr>
              <p:cNvCxnSpPr>
                <a:cxnSpLocks/>
                <a:stCxn id="205" idx="3"/>
                <a:endCxn id="204" idx="3"/>
              </p:cNvCxnSpPr>
              <p:nvPr/>
            </p:nvCxnSpPr>
            <p:spPr>
              <a:xfrm>
                <a:off x="2163182" y="3760329"/>
                <a:ext cx="734103" cy="908923"/>
              </a:xfrm>
              <a:prstGeom prst="line">
                <a:avLst/>
              </a:prstGeom>
              <a:ln w="127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3" name="Textfeld 202">
                <a:extLst>
                  <a:ext uri="{FF2B5EF4-FFF2-40B4-BE49-F238E27FC236}">
                    <a16:creationId xmlns:a16="http://schemas.microsoft.com/office/drawing/2014/main" id="{26546D68-E7C7-4738-874E-14BF80ECA344}"/>
                  </a:ext>
                </a:extLst>
              </p:cNvPr>
              <p:cNvSpPr txBox="1"/>
              <p:nvPr/>
            </p:nvSpPr>
            <p:spPr>
              <a:xfrm rot="3053154">
                <a:off x="2114775" y="3987411"/>
                <a:ext cx="1000659" cy="276999"/>
              </a:xfrm>
              <a:prstGeom prst="rect">
                <a:avLst/>
              </a:prstGeom>
              <a:noFill/>
              <a:ln>
                <a:noFill/>
                <a:prstDash val="dashDot"/>
              </a:ln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SSH-Tunnel 2</a:t>
                </a:r>
              </a:p>
            </p:txBody>
          </p:sp>
          <p:sp>
            <p:nvSpPr>
              <p:cNvPr id="204" name="Ellipse 203">
                <a:extLst>
                  <a:ext uri="{FF2B5EF4-FFF2-40B4-BE49-F238E27FC236}">
                    <a16:creationId xmlns:a16="http://schemas.microsoft.com/office/drawing/2014/main" id="{2CA6A6AF-9CF7-49B1-B4AC-FFCF13EAF29F}"/>
                  </a:ext>
                </a:extLst>
              </p:cNvPr>
              <p:cNvSpPr/>
              <p:nvPr/>
            </p:nvSpPr>
            <p:spPr>
              <a:xfrm>
                <a:off x="2865344" y="4461600"/>
                <a:ext cx="218110" cy="24328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05" name="Ellipse 204">
                <a:extLst>
                  <a:ext uri="{FF2B5EF4-FFF2-40B4-BE49-F238E27FC236}">
                    <a16:creationId xmlns:a16="http://schemas.microsoft.com/office/drawing/2014/main" id="{2EF4185F-319D-4498-B3BC-41F890FFA42D}"/>
                  </a:ext>
                </a:extLst>
              </p:cNvPr>
              <p:cNvSpPr/>
              <p:nvPr/>
            </p:nvSpPr>
            <p:spPr>
              <a:xfrm>
                <a:off x="2131241" y="3552677"/>
                <a:ext cx="218110" cy="24328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99" name="Textfeld 198">
              <a:extLst>
                <a:ext uri="{FF2B5EF4-FFF2-40B4-BE49-F238E27FC236}">
                  <a16:creationId xmlns:a16="http://schemas.microsoft.com/office/drawing/2014/main" id="{2DD9E41F-A7BC-45EA-BF0F-34514698E425}"/>
                </a:ext>
              </a:extLst>
            </p:cNvPr>
            <p:cNvSpPr txBox="1"/>
            <p:nvPr/>
          </p:nvSpPr>
          <p:spPr>
            <a:xfrm>
              <a:off x="2697668" y="2570817"/>
              <a:ext cx="341760" cy="276999"/>
            </a:xfrm>
            <a:prstGeom prst="rect">
              <a:avLst/>
            </a:prstGeom>
            <a:noFill/>
            <a:ln>
              <a:noFill/>
              <a:prstDash val="dashDot"/>
            </a:ln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22</a:t>
              </a:r>
            </a:p>
          </p:txBody>
        </p:sp>
        <p:sp>
          <p:nvSpPr>
            <p:cNvPr id="200" name="Textfeld 199">
              <a:extLst>
                <a:ext uri="{FF2B5EF4-FFF2-40B4-BE49-F238E27FC236}">
                  <a16:creationId xmlns:a16="http://schemas.microsoft.com/office/drawing/2014/main" id="{0A3875DA-EA05-45A4-8C49-262E2255235F}"/>
                </a:ext>
              </a:extLst>
            </p:cNvPr>
            <p:cNvSpPr txBox="1"/>
            <p:nvPr/>
          </p:nvSpPr>
          <p:spPr>
            <a:xfrm>
              <a:off x="3424333" y="3473613"/>
              <a:ext cx="341760" cy="276999"/>
            </a:xfrm>
            <a:prstGeom prst="rect">
              <a:avLst/>
            </a:prstGeom>
            <a:noFill/>
            <a:ln>
              <a:noFill/>
              <a:prstDash val="dashDot"/>
            </a:ln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22</a:t>
              </a:r>
            </a:p>
          </p:txBody>
        </p:sp>
      </p:grp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0DBCAE63-F937-44CC-B476-9EBC8B549668}"/>
              </a:ext>
            </a:extLst>
          </p:cNvPr>
          <p:cNvGrpSpPr/>
          <p:nvPr/>
        </p:nvGrpSpPr>
        <p:grpSpPr>
          <a:xfrm>
            <a:off x="10470457" y="1014326"/>
            <a:ext cx="435229" cy="527331"/>
            <a:chOff x="2131241" y="3552677"/>
            <a:chExt cx="435229" cy="527331"/>
          </a:xfrm>
        </p:grpSpPr>
        <p:cxnSp>
          <p:nvCxnSpPr>
            <p:cNvPr id="207" name="Gerader Verbinder 206">
              <a:extLst>
                <a:ext uri="{FF2B5EF4-FFF2-40B4-BE49-F238E27FC236}">
                  <a16:creationId xmlns:a16="http://schemas.microsoft.com/office/drawing/2014/main" id="{98BEA23B-26C1-44D9-997B-70B575F18034}"/>
                </a:ext>
              </a:extLst>
            </p:cNvPr>
            <p:cNvCxnSpPr>
              <a:cxnSpLocks/>
              <a:stCxn id="209" idx="7"/>
            </p:cNvCxnSpPr>
            <p:nvPr/>
          </p:nvCxnSpPr>
          <p:spPr>
            <a:xfrm>
              <a:off x="2317410" y="3588305"/>
              <a:ext cx="249060" cy="319679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Gerader Verbinder 207">
              <a:extLst>
                <a:ext uri="{FF2B5EF4-FFF2-40B4-BE49-F238E27FC236}">
                  <a16:creationId xmlns:a16="http://schemas.microsoft.com/office/drawing/2014/main" id="{ECE9E856-878F-4A4E-9687-41C8CD55B8BC}"/>
                </a:ext>
              </a:extLst>
            </p:cNvPr>
            <p:cNvCxnSpPr>
              <a:cxnSpLocks/>
              <a:stCxn id="209" idx="3"/>
            </p:cNvCxnSpPr>
            <p:nvPr/>
          </p:nvCxnSpPr>
          <p:spPr>
            <a:xfrm>
              <a:off x="2163182" y="3760329"/>
              <a:ext cx="249060" cy="319679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9" name="Ellipse 208">
              <a:extLst>
                <a:ext uri="{FF2B5EF4-FFF2-40B4-BE49-F238E27FC236}">
                  <a16:creationId xmlns:a16="http://schemas.microsoft.com/office/drawing/2014/main" id="{D1CA1B4D-AEF0-4EB5-A422-D270A08899B8}"/>
                </a:ext>
              </a:extLst>
            </p:cNvPr>
            <p:cNvSpPr/>
            <p:nvPr/>
          </p:nvSpPr>
          <p:spPr>
            <a:xfrm>
              <a:off x="2131241" y="3552677"/>
              <a:ext cx="218110" cy="24328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10" name="Textfeld 209">
            <a:extLst>
              <a:ext uri="{FF2B5EF4-FFF2-40B4-BE49-F238E27FC236}">
                <a16:creationId xmlns:a16="http://schemas.microsoft.com/office/drawing/2014/main" id="{E44B223A-1A90-44DB-BE70-309C23F3ECE0}"/>
              </a:ext>
            </a:extLst>
          </p:cNvPr>
          <p:cNvSpPr txBox="1"/>
          <p:nvPr/>
        </p:nvSpPr>
        <p:spPr>
          <a:xfrm rot="3053154">
            <a:off x="10622483" y="1193799"/>
            <a:ext cx="300082" cy="276999"/>
          </a:xfrm>
          <a:prstGeom prst="rect">
            <a:avLst/>
          </a:prstGeom>
          <a:noFill/>
          <a:ln>
            <a:noFill/>
            <a:prstDash val="dashDot"/>
          </a:ln>
        </p:spPr>
        <p:txBody>
          <a:bodyPr wrap="none" rtlCol="0">
            <a:spAutoFit/>
          </a:bodyPr>
          <a:lstStyle/>
          <a:p>
            <a:r>
              <a:rPr lang="de-DE" sz="1200" dirty="0"/>
              <a:t>…</a:t>
            </a: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8B9AA9FC-BC18-4924-B696-5FCD27CDBB76}"/>
              </a:ext>
            </a:extLst>
          </p:cNvPr>
          <p:cNvCxnSpPr>
            <a:cxnSpLocks/>
          </p:cNvCxnSpPr>
          <p:nvPr/>
        </p:nvCxnSpPr>
        <p:spPr>
          <a:xfrm flipH="1" flipV="1">
            <a:off x="8601015" y="1490585"/>
            <a:ext cx="158556" cy="1901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2" name="Gruppieren 211">
            <a:extLst>
              <a:ext uri="{FF2B5EF4-FFF2-40B4-BE49-F238E27FC236}">
                <a16:creationId xmlns:a16="http://schemas.microsoft.com/office/drawing/2014/main" id="{8162CA60-8C70-4372-BDBD-AE192869C741}"/>
              </a:ext>
            </a:extLst>
          </p:cNvPr>
          <p:cNvGrpSpPr/>
          <p:nvPr/>
        </p:nvGrpSpPr>
        <p:grpSpPr>
          <a:xfrm>
            <a:off x="8760263" y="1574809"/>
            <a:ext cx="446313" cy="283985"/>
            <a:chOff x="4866724" y="3158345"/>
            <a:chExt cx="532520" cy="283985"/>
          </a:xfrm>
        </p:grpSpPr>
        <p:sp>
          <p:nvSpPr>
            <p:cNvPr id="213" name="Rechteck 212">
              <a:extLst>
                <a:ext uri="{FF2B5EF4-FFF2-40B4-BE49-F238E27FC236}">
                  <a16:creationId xmlns:a16="http://schemas.microsoft.com/office/drawing/2014/main" id="{30F5DAC1-BAA0-49D7-B066-D67A390DBE2C}"/>
                </a:ext>
              </a:extLst>
            </p:cNvPr>
            <p:cNvSpPr/>
            <p:nvPr/>
          </p:nvSpPr>
          <p:spPr>
            <a:xfrm>
              <a:off x="4866724" y="3158345"/>
              <a:ext cx="532519" cy="283985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4" name="Textfeld 213">
              <a:extLst>
                <a:ext uri="{FF2B5EF4-FFF2-40B4-BE49-F238E27FC236}">
                  <a16:creationId xmlns:a16="http://schemas.microsoft.com/office/drawing/2014/main" id="{887F342A-D213-41C2-81C4-D68B6F88F0EA}"/>
                </a:ext>
              </a:extLst>
            </p:cNvPr>
            <p:cNvSpPr txBox="1"/>
            <p:nvPr/>
          </p:nvSpPr>
          <p:spPr>
            <a:xfrm>
              <a:off x="4866726" y="3165331"/>
              <a:ext cx="532518" cy="276999"/>
            </a:xfrm>
            <a:prstGeom prst="rect">
              <a:avLst/>
            </a:prstGeom>
            <a:noFill/>
            <a:ln>
              <a:noFill/>
              <a:prstDash val="dashDot"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 err="1"/>
                <a:t>Ack</a:t>
              </a:r>
              <a:endParaRPr lang="de-DE" sz="1200" dirty="0"/>
            </a:p>
          </p:txBody>
        </p:sp>
      </p:grpSp>
      <p:sp>
        <p:nvSpPr>
          <p:cNvPr id="219" name="Textfeld 218">
            <a:extLst>
              <a:ext uri="{FF2B5EF4-FFF2-40B4-BE49-F238E27FC236}">
                <a16:creationId xmlns:a16="http://schemas.microsoft.com/office/drawing/2014/main" id="{C422C084-C05C-488D-B178-63BCE321DF8B}"/>
              </a:ext>
            </a:extLst>
          </p:cNvPr>
          <p:cNvSpPr txBox="1"/>
          <p:nvPr/>
        </p:nvSpPr>
        <p:spPr>
          <a:xfrm>
            <a:off x="8612910" y="532499"/>
            <a:ext cx="916467" cy="430887"/>
          </a:xfrm>
          <a:prstGeom prst="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050" dirty="0" err="1"/>
              <a:t>Forwarded</a:t>
            </a:r>
            <a:r>
              <a:rPr lang="de-DE" sz="1050" dirty="0"/>
              <a:t> </a:t>
            </a:r>
            <a:r>
              <a:rPr lang="de-DE" sz="1050" dirty="0" err="1"/>
              <a:t>ports</a:t>
            </a:r>
            <a:endParaRPr lang="de-DE" sz="1050" dirty="0"/>
          </a:p>
        </p:txBody>
      </p:sp>
      <p:cxnSp>
        <p:nvCxnSpPr>
          <p:cNvPr id="220" name="Gerade Verbindung mit Pfeil 219">
            <a:extLst>
              <a:ext uri="{FF2B5EF4-FFF2-40B4-BE49-F238E27FC236}">
                <a16:creationId xmlns:a16="http://schemas.microsoft.com/office/drawing/2014/main" id="{984387C9-302C-44AC-960C-B80CE8026E0A}"/>
              </a:ext>
            </a:extLst>
          </p:cNvPr>
          <p:cNvCxnSpPr>
            <a:cxnSpLocks/>
          </p:cNvCxnSpPr>
          <p:nvPr/>
        </p:nvCxnSpPr>
        <p:spPr>
          <a:xfrm flipH="1">
            <a:off x="8107800" y="804524"/>
            <a:ext cx="731317" cy="236290"/>
          </a:xfrm>
          <a:prstGeom prst="straightConnector1">
            <a:avLst/>
          </a:prstGeom>
          <a:ln w="3175">
            <a:solidFill>
              <a:schemeClr val="tx1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Gerade Verbindung mit Pfeil 220">
            <a:extLst>
              <a:ext uri="{FF2B5EF4-FFF2-40B4-BE49-F238E27FC236}">
                <a16:creationId xmlns:a16="http://schemas.microsoft.com/office/drawing/2014/main" id="{400064D0-9F44-4058-A53B-77B2004D971E}"/>
              </a:ext>
            </a:extLst>
          </p:cNvPr>
          <p:cNvCxnSpPr>
            <a:cxnSpLocks/>
          </p:cNvCxnSpPr>
          <p:nvPr/>
        </p:nvCxnSpPr>
        <p:spPr>
          <a:xfrm>
            <a:off x="9287716" y="810874"/>
            <a:ext cx="835353" cy="239080"/>
          </a:xfrm>
          <a:prstGeom prst="straightConnector1">
            <a:avLst/>
          </a:prstGeom>
          <a:ln w="3175">
            <a:solidFill>
              <a:schemeClr val="tx1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22" name="TextBox 11">
                <a:extLst>
                  <a:ext uri="{FF2B5EF4-FFF2-40B4-BE49-F238E27FC236}">
                    <a16:creationId xmlns:a16="http://schemas.microsoft.com/office/drawing/2014/main" id="{E643EFC5-24EF-4652-8EB5-C3FA8BDC50AA}"/>
                  </a:ext>
                </a:extLst>
              </p:cNvPr>
              <p:cNvSpPr txBox="1"/>
              <p:nvPr/>
            </p:nvSpPr>
            <p:spPr>
              <a:xfrm>
                <a:off x="9989747" y="3736462"/>
                <a:ext cx="539057" cy="461665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GB" sz="2400" dirty="0"/>
              </a:p>
            </p:txBody>
          </p:sp>
        </mc:Choice>
        <mc:Fallback xmlns="">
          <p:sp>
            <p:nvSpPr>
              <p:cNvPr id="222" name="TextBox 11">
                <a:extLst>
                  <a:ext uri="{FF2B5EF4-FFF2-40B4-BE49-F238E27FC236}">
                    <a16:creationId xmlns:a16="http://schemas.microsoft.com/office/drawing/2014/main" id="{E643EFC5-24EF-4652-8EB5-C3FA8BDC50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89747" y="3736462"/>
                <a:ext cx="539057" cy="461665"/>
              </a:xfrm>
              <a:prstGeom prst="rect">
                <a:avLst/>
              </a:prstGeom>
              <a:blipFill>
                <a:blip r:embed="rId7"/>
                <a:stretch>
                  <a:fillRect l="-2151"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3" name="TextBox 11">
                <a:extLst>
                  <a:ext uri="{FF2B5EF4-FFF2-40B4-BE49-F238E27FC236}">
                    <a16:creationId xmlns:a16="http://schemas.microsoft.com/office/drawing/2014/main" id="{671C3BC2-31D6-44DE-9263-54B2CB412431}"/>
                  </a:ext>
                </a:extLst>
              </p:cNvPr>
              <p:cNvSpPr txBox="1"/>
              <p:nvPr/>
            </p:nvSpPr>
            <p:spPr>
              <a:xfrm>
                <a:off x="11277411" y="2451778"/>
                <a:ext cx="546175" cy="461665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GB" sz="2400" b="0" i="1" dirty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GB" sz="2400" dirty="0"/>
              </a:p>
            </p:txBody>
          </p:sp>
        </mc:Choice>
        <mc:Fallback xmlns="">
          <p:sp>
            <p:nvSpPr>
              <p:cNvPr id="223" name="TextBox 11">
                <a:extLst>
                  <a:ext uri="{FF2B5EF4-FFF2-40B4-BE49-F238E27FC236}">
                    <a16:creationId xmlns:a16="http://schemas.microsoft.com/office/drawing/2014/main" id="{671C3BC2-31D6-44DE-9263-54B2CB41243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77411" y="2451778"/>
                <a:ext cx="546175" cy="461665"/>
              </a:xfrm>
              <a:prstGeom prst="rect">
                <a:avLst/>
              </a:prstGeom>
              <a:blipFill>
                <a:blip r:embed="rId8"/>
                <a:stretch>
                  <a:fillRect l="-2105"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24" name="Gruppieren 223">
            <a:extLst>
              <a:ext uri="{FF2B5EF4-FFF2-40B4-BE49-F238E27FC236}">
                <a16:creationId xmlns:a16="http://schemas.microsoft.com/office/drawing/2014/main" id="{3BB4BC3E-BE39-4F3E-97AA-E13D78E9814A}"/>
              </a:ext>
            </a:extLst>
          </p:cNvPr>
          <p:cNvGrpSpPr/>
          <p:nvPr/>
        </p:nvGrpSpPr>
        <p:grpSpPr>
          <a:xfrm flipH="1">
            <a:off x="10537878" y="2944659"/>
            <a:ext cx="1068425" cy="1179795"/>
            <a:chOff x="2697668" y="2570817"/>
            <a:chExt cx="1068425" cy="1179795"/>
          </a:xfrm>
        </p:grpSpPr>
        <p:grpSp>
          <p:nvGrpSpPr>
            <p:cNvPr id="225" name="Gruppieren 224">
              <a:extLst>
                <a:ext uri="{FF2B5EF4-FFF2-40B4-BE49-F238E27FC236}">
                  <a16:creationId xmlns:a16="http://schemas.microsoft.com/office/drawing/2014/main" id="{90661AD2-63BC-497D-B8B1-FCD0FC3275F1}"/>
                </a:ext>
              </a:extLst>
            </p:cNvPr>
            <p:cNvGrpSpPr/>
            <p:nvPr/>
          </p:nvGrpSpPr>
          <p:grpSpPr>
            <a:xfrm>
              <a:off x="2753472" y="2581550"/>
              <a:ext cx="952213" cy="1152203"/>
              <a:chOff x="2131241" y="3552677"/>
              <a:chExt cx="952213" cy="1152203"/>
            </a:xfrm>
          </p:grpSpPr>
          <p:cxnSp>
            <p:nvCxnSpPr>
              <p:cNvPr id="228" name="Gerader Verbinder 227">
                <a:extLst>
                  <a:ext uri="{FF2B5EF4-FFF2-40B4-BE49-F238E27FC236}">
                    <a16:creationId xmlns:a16="http://schemas.microsoft.com/office/drawing/2014/main" id="{4163C52E-07C7-4829-9606-CB612B6760F3}"/>
                  </a:ext>
                </a:extLst>
              </p:cNvPr>
              <p:cNvCxnSpPr>
                <a:cxnSpLocks/>
                <a:stCxn id="232" idx="7"/>
                <a:endCxn id="231" idx="7"/>
              </p:cNvCxnSpPr>
              <p:nvPr/>
            </p:nvCxnSpPr>
            <p:spPr>
              <a:xfrm>
                <a:off x="2317410" y="3588305"/>
                <a:ext cx="734103" cy="908923"/>
              </a:xfrm>
              <a:prstGeom prst="line">
                <a:avLst/>
              </a:prstGeom>
              <a:ln w="127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r Verbinder 228">
                <a:extLst>
                  <a:ext uri="{FF2B5EF4-FFF2-40B4-BE49-F238E27FC236}">
                    <a16:creationId xmlns:a16="http://schemas.microsoft.com/office/drawing/2014/main" id="{2DA5F417-FF74-467E-95BC-12AD6066632F}"/>
                  </a:ext>
                </a:extLst>
              </p:cNvPr>
              <p:cNvCxnSpPr>
                <a:cxnSpLocks/>
                <a:stCxn id="232" idx="3"/>
                <a:endCxn id="231" idx="3"/>
              </p:cNvCxnSpPr>
              <p:nvPr/>
            </p:nvCxnSpPr>
            <p:spPr>
              <a:xfrm>
                <a:off x="2163182" y="3760329"/>
                <a:ext cx="734103" cy="908923"/>
              </a:xfrm>
              <a:prstGeom prst="line">
                <a:avLst/>
              </a:prstGeom>
              <a:ln w="127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0" name="Textfeld 229">
                <a:extLst>
                  <a:ext uri="{FF2B5EF4-FFF2-40B4-BE49-F238E27FC236}">
                    <a16:creationId xmlns:a16="http://schemas.microsoft.com/office/drawing/2014/main" id="{9B214F4D-8FB2-40FD-8580-5F4E18BB64AE}"/>
                  </a:ext>
                </a:extLst>
              </p:cNvPr>
              <p:cNvSpPr txBox="1"/>
              <p:nvPr/>
            </p:nvSpPr>
            <p:spPr>
              <a:xfrm rot="3053154">
                <a:off x="2114775" y="3987411"/>
                <a:ext cx="1000659" cy="276999"/>
              </a:xfrm>
              <a:prstGeom prst="rect">
                <a:avLst/>
              </a:prstGeom>
              <a:noFill/>
              <a:ln>
                <a:noFill/>
                <a:prstDash val="dashDot"/>
              </a:ln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SSH-Tunnel 2</a:t>
                </a:r>
              </a:p>
            </p:txBody>
          </p:sp>
          <p:sp>
            <p:nvSpPr>
              <p:cNvPr id="231" name="Ellipse 230">
                <a:extLst>
                  <a:ext uri="{FF2B5EF4-FFF2-40B4-BE49-F238E27FC236}">
                    <a16:creationId xmlns:a16="http://schemas.microsoft.com/office/drawing/2014/main" id="{F517BB80-AE0A-4CD4-8085-97E6720401A8}"/>
                  </a:ext>
                </a:extLst>
              </p:cNvPr>
              <p:cNvSpPr/>
              <p:nvPr/>
            </p:nvSpPr>
            <p:spPr>
              <a:xfrm>
                <a:off x="2865344" y="4461600"/>
                <a:ext cx="218110" cy="24328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32" name="Ellipse 231">
                <a:extLst>
                  <a:ext uri="{FF2B5EF4-FFF2-40B4-BE49-F238E27FC236}">
                    <a16:creationId xmlns:a16="http://schemas.microsoft.com/office/drawing/2014/main" id="{C9530A85-D99D-489D-A017-1C5F4AB4184A}"/>
                  </a:ext>
                </a:extLst>
              </p:cNvPr>
              <p:cNvSpPr/>
              <p:nvPr/>
            </p:nvSpPr>
            <p:spPr>
              <a:xfrm>
                <a:off x="2131241" y="3552677"/>
                <a:ext cx="218110" cy="24328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226" name="Textfeld 225">
              <a:extLst>
                <a:ext uri="{FF2B5EF4-FFF2-40B4-BE49-F238E27FC236}">
                  <a16:creationId xmlns:a16="http://schemas.microsoft.com/office/drawing/2014/main" id="{99BF6D5A-C2D3-4303-AABE-6C0DF8B806BE}"/>
                </a:ext>
              </a:extLst>
            </p:cNvPr>
            <p:cNvSpPr txBox="1"/>
            <p:nvPr/>
          </p:nvSpPr>
          <p:spPr>
            <a:xfrm>
              <a:off x="2697668" y="2570817"/>
              <a:ext cx="341760" cy="276999"/>
            </a:xfrm>
            <a:prstGeom prst="rect">
              <a:avLst/>
            </a:prstGeom>
            <a:noFill/>
            <a:ln>
              <a:noFill/>
              <a:prstDash val="dashDot"/>
            </a:ln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22</a:t>
              </a:r>
            </a:p>
          </p:txBody>
        </p:sp>
        <p:sp>
          <p:nvSpPr>
            <p:cNvPr id="227" name="Textfeld 226">
              <a:extLst>
                <a:ext uri="{FF2B5EF4-FFF2-40B4-BE49-F238E27FC236}">
                  <a16:creationId xmlns:a16="http://schemas.microsoft.com/office/drawing/2014/main" id="{9C13E9B6-71B0-47BD-8302-97440B48B4EF}"/>
                </a:ext>
              </a:extLst>
            </p:cNvPr>
            <p:cNvSpPr txBox="1"/>
            <p:nvPr/>
          </p:nvSpPr>
          <p:spPr>
            <a:xfrm>
              <a:off x="3424333" y="3473613"/>
              <a:ext cx="341760" cy="276999"/>
            </a:xfrm>
            <a:prstGeom prst="rect">
              <a:avLst/>
            </a:prstGeom>
            <a:noFill/>
            <a:ln>
              <a:noFill/>
              <a:prstDash val="dashDot"/>
            </a:ln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22</a:t>
              </a:r>
            </a:p>
          </p:txBody>
        </p:sp>
      </p:grpSp>
      <p:grpSp>
        <p:nvGrpSpPr>
          <p:cNvPr id="233" name="Gruppieren 232">
            <a:extLst>
              <a:ext uri="{FF2B5EF4-FFF2-40B4-BE49-F238E27FC236}">
                <a16:creationId xmlns:a16="http://schemas.microsoft.com/office/drawing/2014/main" id="{3B897465-E982-4448-A100-A08E6F531BCC}"/>
              </a:ext>
            </a:extLst>
          </p:cNvPr>
          <p:cNvGrpSpPr/>
          <p:nvPr/>
        </p:nvGrpSpPr>
        <p:grpSpPr>
          <a:xfrm>
            <a:off x="11618345" y="2959301"/>
            <a:ext cx="435229" cy="527331"/>
            <a:chOff x="2131241" y="3552677"/>
            <a:chExt cx="435229" cy="527331"/>
          </a:xfrm>
        </p:grpSpPr>
        <p:cxnSp>
          <p:nvCxnSpPr>
            <p:cNvPr id="234" name="Gerader Verbinder 233">
              <a:extLst>
                <a:ext uri="{FF2B5EF4-FFF2-40B4-BE49-F238E27FC236}">
                  <a16:creationId xmlns:a16="http://schemas.microsoft.com/office/drawing/2014/main" id="{E2A9AF88-929D-401D-9287-503428B72C80}"/>
                </a:ext>
              </a:extLst>
            </p:cNvPr>
            <p:cNvCxnSpPr>
              <a:cxnSpLocks/>
              <a:stCxn id="236" idx="7"/>
            </p:cNvCxnSpPr>
            <p:nvPr/>
          </p:nvCxnSpPr>
          <p:spPr>
            <a:xfrm>
              <a:off x="2317410" y="3588305"/>
              <a:ext cx="249060" cy="319679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Gerader Verbinder 234">
              <a:extLst>
                <a:ext uri="{FF2B5EF4-FFF2-40B4-BE49-F238E27FC236}">
                  <a16:creationId xmlns:a16="http://schemas.microsoft.com/office/drawing/2014/main" id="{E7AA08B7-DA54-40A3-B6C0-C0490521A09E}"/>
                </a:ext>
              </a:extLst>
            </p:cNvPr>
            <p:cNvCxnSpPr>
              <a:cxnSpLocks/>
              <a:stCxn id="236" idx="3"/>
            </p:cNvCxnSpPr>
            <p:nvPr/>
          </p:nvCxnSpPr>
          <p:spPr>
            <a:xfrm>
              <a:off x="2163182" y="3760329"/>
              <a:ext cx="249060" cy="319679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6" name="Ellipse 235">
              <a:extLst>
                <a:ext uri="{FF2B5EF4-FFF2-40B4-BE49-F238E27FC236}">
                  <a16:creationId xmlns:a16="http://schemas.microsoft.com/office/drawing/2014/main" id="{97BFD6C3-C47C-4319-BB87-662D1ECD64DE}"/>
                </a:ext>
              </a:extLst>
            </p:cNvPr>
            <p:cNvSpPr/>
            <p:nvPr/>
          </p:nvSpPr>
          <p:spPr>
            <a:xfrm>
              <a:off x="2131241" y="3552677"/>
              <a:ext cx="218110" cy="24328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37" name="Textfeld 236">
            <a:extLst>
              <a:ext uri="{FF2B5EF4-FFF2-40B4-BE49-F238E27FC236}">
                <a16:creationId xmlns:a16="http://schemas.microsoft.com/office/drawing/2014/main" id="{9CAE4A56-614D-43D2-B766-73C1597143A2}"/>
              </a:ext>
            </a:extLst>
          </p:cNvPr>
          <p:cNvSpPr txBox="1"/>
          <p:nvPr/>
        </p:nvSpPr>
        <p:spPr>
          <a:xfrm rot="3053154">
            <a:off x="11770371" y="3138774"/>
            <a:ext cx="300082" cy="276999"/>
          </a:xfrm>
          <a:prstGeom prst="rect">
            <a:avLst/>
          </a:prstGeom>
          <a:noFill/>
          <a:ln>
            <a:noFill/>
            <a:prstDash val="dashDot"/>
          </a:ln>
        </p:spPr>
        <p:txBody>
          <a:bodyPr wrap="none" rtlCol="0">
            <a:spAutoFit/>
          </a:bodyPr>
          <a:lstStyle/>
          <a:p>
            <a:r>
              <a:rPr lang="de-DE" sz="1200" dirty="0"/>
              <a:t>…</a:t>
            </a:r>
          </a:p>
        </p:txBody>
      </p:sp>
      <p:cxnSp>
        <p:nvCxnSpPr>
          <p:cNvPr id="238" name="Gerade Verbindung mit Pfeil 237">
            <a:extLst>
              <a:ext uri="{FF2B5EF4-FFF2-40B4-BE49-F238E27FC236}">
                <a16:creationId xmlns:a16="http://schemas.microsoft.com/office/drawing/2014/main" id="{5216DBD1-4426-44E6-B136-06FC128DBF7E}"/>
              </a:ext>
            </a:extLst>
          </p:cNvPr>
          <p:cNvCxnSpPr>
            <a:cxnSpLocks/>
          </p:cNvCxnSpPr>
          <p:nvPr/>
        </p:nvCxnSpPr>
        <p:spPr>
          <a:xfrm flipV="1">
            <a:off x="10838046" y="3916036"/>
            <a:ext cx="190489" cy="21469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9" name="Gruppieren 238">
            <a:extLst>
              <a:ext uri="{FF2B5EF4-FFF2-40B4-BE49-F238E27FC236}">
                <a16:creationId xmlns:a16="http://schemas.microsoft.com/office/drawing/2014/main" id="{3B6AC4A1-8A69-4FBC-BD51-CDB43BD6668A}"/>
              </a:ext>
            </a:extLst>
          </p:cNvPr>
          <p:cNvGrpSpPr/>
          <p:nvPr/>
        </p:nvGrpSpPr>
        <p:grpSpPr>
          <a:xfrm>
            <a:off x="10355816" y="4131465"/>
            <a:ext cx="672719" cy="461665"/>
            <a:chOff x="4811918" y="3080857"/>
            <a:chExt cx="672719" cy="461665"/>
          </a:xfrm>
        </p:grpSpPr>
        <p:sp>
          <p:nvSpPr>
            <p:cNvPr id="240" name="Rechteck 239">
              <a:extLst>
                <a:ext uri="{FF2B5EF4-FFF2-40B4-BE49-F238E27FC236}">
                  <a16:creationId xmlns:a16="http://schemas.microsoft.com/office/drawing/2014/main" id="{7B70FBF0-801A-47DD-AFDD-0E689CBA2B53}"/>
                </a:ext>
              </a:extLst>
            </p:cNvPr>
            <p:cNvSpPr/>
            <p:nvPr/>
          </p:nvSpPr>
          <p:spPr>
            <a:xfrm>
              <a:off x="4811918" y="3080857"/>
              <a:ext cx="672719" cy="461665"/>
            </a:xfrm>
            <a:prstGeom prst="rect">
              <a:avLst/>
            </a:prstGeom>
            <a:gradFill flip="none" rotWithShape="1">
              <a:gsLst>
                <a:gs pos="0">
                  <a:srgbClr val="FF0000">
                    <a:tint val="66000"/>
                    <a:satMod val="160000"/>
                  </a:srgbClr>
                </a:gs>
                <a:gs pos="50000">
                  <a:srgbClr val="FF0000">
                    <a:tint val="44500"/>
                    <a:satMod val="160000"/>
                  </a:srgbClr>
                </a:gs>
                <a:gs pos="100000">
                  <a:srgbClr val="FF000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1" name="Textfeld 240">
              <a:extLst>
                <a:ext uri="{FF2B5EF4-FFF2-40B4-BE49-F238E27FC236}">
                  <a16:creationId xmlns:a16="http://schemas.microsoft.com/office/drawing/2014/main" id="{E45F8888-8D01-443C-9F33-CED14C53D0B3}"/>
                </a:ext>
              </a:extLst>
            </p:cNvPr>
            <p:cNvSpPr txBox="1"/>
            <p:nvPr/>
          </p:nvSpPr>
          <p:spPr>
            <a:xfrm>
              <a:off x="4864466" y="3165331"/>
              <a:ext cx="583486" cy="276999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Dot"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 err="1"/>
                <a:t>rm</a:t>
              </a:r>
              <a:r>
                <a:rPr lang="de-DE" sz="1200" dirty="0"/>
                <a:t> </a:t>
              </a:r>
              <a:r>
                <a:rPr lang="de-DE" sz="1200" dirty="0" err="1"/>
                <a:t>xy</a:t>
              </a:r>
              <a:endParaRPr lang="de-DE" sz="1200" dirty="0"/>
            </a:p>
          </p:txBody>
        </p:sp>
      </p:grpSp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8A1B8904-3C3B-4D30-A908-99EED344C531}"/>
              </a:ext>
            </a:extLst>
          </p:cNvPr>
          <p:cNvCxnSpPr>
            <a:cxnSpLocks/>
          </p:cNvCxnSpPr>
          <p:nvPr/>
        </p:nvCxnSpPr>
        <p:spPr>
          <a:xfrm flipH="1">
            <a:off x="11054228" y="3032811"/>
            <a:ext cx="161078" cy="19354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4" name="Gruppieren 243">
            <a:extLst>
              <a:ext uri="{FF2B5EF4-FFF2-40B4-BE49-F238E27FC236}">
                <a16:creationId xmlns:a16="http://schemas.microsoft.com/office/drawing/2014/main" id="{8218266E-1BBC-40EC-BF0B-5FD24A85105F}"/>
              </a:ext>
            </a:extLst>
          </p:cNvPr>
          <p:cNvGrpSpPr/>
          <p:nvPr/>
        </p:nvGrpSpPr>
        <p:grpSpPr>
          <a:xfrm>
            <a:off x="10869796" y="2775220"/>
            <a:ext cx="414455" cy="283985"/>
            <a:chOff x="4866724" y="3158345"/>
            <a:chExt cx="532520" cy="283985"/>
          </a:xfr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2700000" scaled="1"/>
            <a:tileRect/>
          </a:gradFill>
        </p:grpSpPr>
        <p:sp>
          <p:nvSpPr>
            <p:cNvPr id="245" name="Rechteck 244">
              <a:extLst>
                <a:ext uri="{FF2B5EF4-FFF2-40B4-BE49-F238E27FC236}">
                  <a16:creationId xmlns:a16="http://schemas.microsoft.com/office/drawing/2014/main" id="{BB505F0F-B165-4160-A0F3-22246F198663}"/>
                </a:ext>
              </a:extLst>
            </p:cNvPr>
            <p:cNvSpPr/>
            <p:nvPr/>
          </p:nvSpPr>
          <p:spPr>
            <a:xfrm>
              <a:off x="4866724" y="3158345"/>
              <a:ext cx="532519" cy="283985"/>
            </a:xfrm>
            <a:prstGeom prst="rect">
              <a:avLst/>
            </a:prstGeom>
            <a:grp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6" name="Textfeld 245">
              <a:extLst>
                <a:ext uri="{FF2B5EF4-FFF2-40B4-BE49-F238E27FC236}">
                  <a16:creationId xmlns:a16="http://schemas.microsoft.com/office/drawing/2014/main" id="{6B57CDBD-7767-464B-B915-EBFCE6D92196}"/>
                </a:ext>
              </a:extLst>
            </p:cNvPr>
            <p:cNvSpPr txBox="1"/>
            <p:nvPr/>
          </p:nvSpPr>
          <p:spPr>
            <a:xfrm>
              <a:off x="4866726" y="3165331"/>
              <a:ext cx="532518" cy="276999"/>
            </a:xfrm>
            <a:prstGeom prst="rect">
              <a:avLst/>
            </a:prstGeom>
            <a:grpFill/>
            <a:ln>
              <a:noFill/>
              <a:prstDash val="dashDot"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 err="1"/>
                <a:t>Ack</a:t>
              </a:r>
              <a:endParaRPr lang="de-DE" sz="1200" dirty="0"/>
            </a:p>
          </p:txBody>
        </p:sp>
      </p:grpSp>
      <p:grpSp>
        <p:nvGrpSpPr>
          <p:cNvPr id="247" name="Gruppieren 246">
            <a:extLst>
              <a:ext uri="{FF2B5EF4-FFF2-40B4-BE49-F238E27FC236}">
                <a16:creationId xmlns:a16="http://schemas.microsoft.com/office/drawing/2014/main" id="{7B564D07-C93A-4697-8A4E-45A35FE74B38}"/>
              </a:ext>
            </a:extLst>
          </p:cNvPr>
          <p:cNvGrpSpPr/>
          <p:nvPr/>
        </p:nvGrpSpPr>
        <p:grpSpPr>
          <a:xfrm rot="10800000">
            <a:off x="9505055" y="3528625"/>
            <a:ext cx="440566" cy="527331"/>
            <a:chOff x="4571456" y="2095023"/>
            <a:chExt cx="440566" cy="527331"/>
          </a:xfrm>
        </p:grpSpPr>
        <p:grpSp>
          <p:nvGrpSpPr>
            <p:cNvPr id="248" name="Gruppieren 247">
              <a:extLst>
                <a:ext uri="{FF2B5EF4-FFF2-40B4-BE49-F238E27FC236}">
                  <a16:creationId xmlns:a16="http://schemas.microsoft.com/office/drawing/2014/main" id="{75B48EDC-63E0-4AA3-8C6F-DF47FD1F52D5}"/>
                </a:ext>
              </a:extLst>
            </p:cNvPr>
            <p:cNvGrpSpPr/>
            <p:nvPr/>
          </p:nvGrpSpPr>
          <p:grpSpPr>
            <a:xfrm>
              <a:off x="4571456" y="2095023"/>
              <a:ext cx="435229" cy="527331"/>
              <a:chOff x="2131241" y="3552677"/>
              <a:chExt cx="435229" cy="527331"/>
            </a:xfrm>
          </p:grpSpPr>
          <p:cxnSp>
            <p:nvCxnSpPr>
              <p:cNvPr id="250" name="Gerader Verbinder 249">
                <a:extLst>
                  <a:ext uri="{FF2B5EF4-FFF2-40B4-BE49-F238E27FC236}">
                    <a16:creationId xmlns:a16="http://schemas.microsoft.com/office/drawing/2014/main" id="{FF05058B-CCE4-4D9F-B7A4-5BE90357A8B8}"/>
                  </a:ext>
                </a:extLst>
              </p:cNvPr>
              <p:cNvCxnSpPr>
                <a:cxnSpLocks/>
                <a:stCxn id="252" idx="7"/>
              </p:cNvCxnSpPr>
              <p:nvPr/>
            </p:nvCxnSpPr>
            <p:spPr>
              <a:xfrm>
                <a:off x="2317410" y="3588305"/>
                <a:ext cx="249060" cy="319679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r Verbinder 250">
                <a:extLst>
                  <a:ext uri="{FF2B5EF4-FFF2-40B4-BE49-F238E27FC236}">
                    <a16:creationId xmlns:a16="http://schemas.microsoft.com/office/drawing/2014/main" id="{CE0555FC-7D28-4819-893C-F730AED3521E}"/>
                  </a:ext>
                </a:extLst>
              </p:cNvPr>
              <p:cNvCxnSpPr>
                <a:cxnSpLocks/>
                <a:stCxn id="252" idx="3"/>
              </p:cNvCxnSpPr>
              <p:nvPr/>
            </p:nvCxnSpPr>
            <p:spPr>
              <a:xfrm>
                <a:off x="2163182" y="3760329"/>
                <a:ext cx="249060" cy="319679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2" name="Ellipse 251">
                <a:extLst>
                  <a:ext uri="{FF2B5EF4-FFF2-40B4-BE49-F238E27FC236}">
                    <a16:creationId xmlns:a16="http://schemas.microsoft.com/office/drawing/2014/main" id="{5489491A-18BD-4B54-B1C1-C8982D19568F}"/>
                  </a:ext>
                </a:extLst>
              </p:cNvPr>
              <p:cNvSpPr/>
              <p:nvPr/>
            </p:nvSpPr>
            <p:spPr>
              <a:xfrm>
                <a:off x="2131241" y="3552677"/>
                <a:ext cx="218110" cy="24328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249" name="Textfeld 248">
              <a:extLst>
                <a:ext uri="{FF2B5EF4-FFF2-40B4-BE49-F238E27FC236}">
                  <a16:creationId xmlns:a16="http://schemas.microsoft.com/office/drawing/2014/main" id="{69ACFD14-4CF0-4A34-B99B-527AFB18D8D3}"/>
                </a:ext>
              </a:extLst>
            </p:cNvPr>
            <p:cNvSpPr txBox="1"/>
            <p:nvPr/>
          </p:nvSpPr>
          <p:spPr>
            <a:xfrm rot="3053154">
              <a:off x="4723482" y="2274496"/>
              <a:ext cx="300082" cy="276999"/>
            </a:xfrm>
            <a:prstGeom prst="rect">
              <a:avLst/>
            </a:prstGeom>
            <a:noFill/>
            <a:ln>
              <a:noFill/>
              <a:prstDash val="dashDot"/>
            </a:ln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…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53" name="TextBox 11">
                <a:extLst>
                  <a:ext uri="{FF2B5EF4-FFF2-40B4-BE49-F238E27FC236}">
                    <a16:creationId xmlns:a16="http://schemas.microsoft.com/office/drawing/2014/main" id="{F50486E4-5D0E-4143-AD84-8970939C074E}"/>
                  </a:ext>
                </a:extLst>
              </p:cNvPr>
              <p:cNvSpPr txBox="1"/>
              <p:nvPr/>
            </p:nvSpPr>
            <p:spPr>
              <a:xfrm>
                <a:off x="8120833" y="6173381"/>
                <a:ext cx="539057" cy="461665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GB" sz="2400" dirty="0"/>
              </a:p>
            </p:txBody>
          </p:sp>
        </mc:Choice>
        <mc:Fallback xmlns="">
          <p:sp>
            <p:nvSpPr>
              <p:cNvPr id="253" name="TextBox 11">
                <a:extLst>
                  <a:ext uri="{FF2B5EF4-FFF2-40B4-BE49-F238E27FC236}">
                    <a16:creationId xmlns:a16="http://schemas.microsoft.com/office/drawing/2014/main" id="{F50486E4-5D0E-4143-AD84-8970939C07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20833" y="6173381"/>
                <a:ext cx="539057" cy="461665"/>
              </a:xfrm>
              <a:prstGeom prst="rect">
                <a:avLst/>
              </a:prstGeom>
              <a:blipFill>
                <a:blip r:embed="rId9"/>
                <a:stretch>
                  <a:fillRect l="-2128"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4" name="TextBox 11">
                <a:extLst>
                  <a:ext uri="{FF2B5EF4-FFF2-40B4-BE49-F238E27FC236}">
                    <a16:creationId xmlns:a16="http://schemas.microsoft.com/office/drawing/2014/main" id="{B38C55F2-FBE0-4484-B65C-C6E81FF70B2E}"/>
                  </a:ext>
                </a:extLst>
              </p:cNvPr>
              <p:cNvSpPr txBox="1"/>
              <p:nvPr/>
            </p:nvSpPr>
            <p:spPr>
              <a:xfrm>
                <a:off x="9408497" y="4888697"/>
                <a:ext cx="546175" cy="461665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400" b="0" i="1" dirty="0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GB" sz="2400" b="0" i="1" dirty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GB" sz="2400" dirty="0"/>
              </a:p>
            </p:txBody>
          </p:sp>
        </mc:Choice>
        <mc:Fallback xmlns="">
          <p:sp>
            <p:nvSpPr>
              <p:cNvPr id="254" name="TextBox 11">
                <a:extLst>
                  <a:ext uri="{FF2B5EF4-FFF2-40B4-BE49-F238E27FC236}">
                    <a16:creationId xmlns:a16="http://schemas.microsoft.com/office/drawing/2014/main" id="{B38C55F2-FBE0-4484-B65C-C6E81FF70B2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08497" y="4888697"/>
                <a:ext cx="546175" cy="461665"/>
              </a:xfrm>
              <a:prstGeom prst="rect">
                <a:avLst/>
              </a:prstGeom>
              <a:blipFill>
                <a:blip r:embed="rId10"/>
                <a:stretch>
                  <a:fillRect l="-2105"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55" name="Gruppieren 254">
            <a:extLst>
              <a:ext uri="{FF2B5EF4-FFF2-40B4-BE49-F238E27FC236}">
                <a16:creationId xmlns:a16="http://schemas.microsoft.com/office/drawing/2014/main" id="{40685E2F-2100-46C8-9285-DB3607D7F347}"/>
              </a:ext>
            </a:extLst>
          </p:cNvPr>
          <p:cNvGrpSpPr/>
          <p:nvPr/>
        </p:nvGrpSpPr>
        <p:grpSpPr>
          <a:xfrm flipH="1">
            <a:off x="8668964" y="5381578"/>
            <a:ext cx="1068425" cy="1179795"/>
            <a:chOff x="2697668" y="2570817"/>
            <a:chExt cx="1068425" cy="1179795"/>
          </a:xfrm>
        </p:grpSpPr>
        <p:grpSp>
          <p:nvGrpSpPr>
            <p:cNvPr id="256" name="Gruppieren 255">
              <a:extLst>
                <a:ext uri="{FF2B5EF4-FFF2-40B4-BE49-F238E27FC236}">
                  <a16:creationId xmlns:a16="http://schemas.microsoft.com/office/drawing/2014/main" id="{C13312A5-7A95-482E-9589-080D5D4FDFB7}"/>
                </a:ext>
              </a:extLst>
            </p:cNvPr>
            <p:cNvGrpSpPr/>
            <p:nvPr/>
          </p:nvGrpSpPr>
          <p:grpSpPr>
            <a:xfrm>
              <a:off x="2753472" y="2581550"/>
              <a:ext cx="952213" cy="1152203"/>
              <a:chOff x="2131241" y="3552677"/>
              <a:chExt cx="952213" cy="1152203"/>
            </a:xfrm>
          </p:grpSpPr>
          <p:cxnSp>
            <p:nvCxnSpPr>
              <p:cNvPr id="259" name="Gerader Verbinder 258">
                <a:extLst>
                  <a:ext uri="{FF2B5EF4-FFF2-40B4-BE49-F238E27FC236}">
                    <a16:creationId xmlns:a16="http://schemas.microsoft.com/office/drawing/2014/main" id="{FE572CF0-C780-4552-9055-5768F79A2FDC}"/>
                  </a:ext>
                </a:extLst>
              </p:cNvPr>
              <p:cNvCxnSpPr>
                <a:cxnSpLocks/>
                <a:stCxn id="263" idx="7"/>
                <a:endCxn id="262" idx="7"/>
              </p:cNvCxnSpPr>
              <p:nvPr/>
            </p:nvCxnSpPr>
            <p:spPr>
              <a:xfrm>
                <a:off x="2317410" y="3588305"/>
                <a:ext cx="734103" cy="908923"/>
              </a:xfrm>
              <a:prstGeom prst="line">
                <a:avLst/>
              </a:prstGeom>
              <a:ln w="127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0" name="Gerader Verbinder 259">
                <a:extLst>
                  <a:ext uri="{FF2B5EF4-FFF2-40B4-BE49-F238E27FC236}">
                    <a16:creationId xmlns:a16="http://schemas.microsoft.com/office/drawing/2014/main" id="{A158F207-A559-478E-936B-873D5F2BC666}"/>
                  </a:ext>
                </a:extLst>
              </p:cNvPr>
              <p:cNvCxnSpPr>
                <a:cxnSpLocks/>
                <a:stCxn id="263" idx="3"/>
                <a:endCxn id="262" idx="3"/>
              </p:cNvCxnSpPr>
              <p:nvPr/>
            </p:nvCxnSpPr>
            <p:spPr>
              <a:xfrm>
                <a:off x="2163182" y="3760329"/>
                <a:ext cx="734103" cy="908923"/>
              </a:xfrm>
              <a:prstGeom prst="line">
                <a:avLst/>
              </a:prstGeom>
              <a:ln w="127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1" name="Textfeld 260">
                <a:extLst>
                  <a:ext uri="{FF2B5EF4-FFF2-40B4-BE49-F238E27FC236}">
                    <a16:creationId xmlns:a16="http://schemas.microsoft.com/office/drawing/2014/main" id="{67B9CF15-09E0-4494-AE5F-EAAD797438CA}"/>
                  </a:ext>
                </a:extLst>
              </p:cNvPr>
              <p:cNvSpPr txBox="1"/>
              <p:nvPr/>
            </p:nvSpPr>
            <p:spPr>
              <a:xfrm rot="3053154">
                <a:off x="2114775" y="3987411"/>
                <a:ext cx="1000659" cy="276999"/>
              </a:xfrm>
              <a:prstGeom prst="rect">
                <a:avLst/>
              </a:prstGeom>
              <a:noFill/>
              <a:ln>
                <a:noFill/>
                <a:prstDash val="dashDot"/>
              </a:ln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SSH-Tunnel 2</a:t>
                </a:r>
              </a:p>
            </p:txBody>
          </p:sp>
          <p:sp>
            <p:nvSpPr>
              <p:cNvPr id="262" name="Ellipse 261">
                <a:extLst>
                  <a:ext uri="{FF2B5EF4-FFF2-40B4-BE49-F238E27FC236}">
                    <a16:creationId xmlns:a16="http://schemas.microsoft.com/office/drawing/2014/main" id="{812B9E4A-323B-4B2D-889E-762C3B86AB75}"/>
                  </a:ext>
                </a:extLst>
              </p:cNvPr>
              <p:cNvSpPr/>
              <p:nvPr/>
            </p:nvSpPr>
            <p:spPr>
              <a:xfrm>
                <a:off x="2865344" y="4461600"/>
                <a:ext cx="218110" cy="24328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63" name="Ellipse 262">
                <a:extLst>
                  <a:ext uri="{FF2B5EF4-FFF2-40B4-BE49-F238E27FC236}">
                    <a16:creationId xmlns:a16="http://schemas.microsoft.com/office/drawing/2014/main" id="{038EAC14-870B-46BB-9D73-EC6258C04E71}"/>
                  </a:ext>
                </a:extLst>
              </p:cNvPr>
              <p:cNvSpPr/>
              <p:nvPr/>
            </p:nvSpPr>
            <p:spPr>
              <a:xfrm>
                <a:off x="2131241" y="3552677"/>
                <a:ext cx="218110" cy="24328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257" name="Textfeld 256">
              <a:extLst>
                <a:ext uri="{FF2B5EF4-FFF2-40B4-BE49-F238E27FC236}">
                  <a16:creationId xmlns:a16="http://schemas.microsoft.com/office/drawing/2014/main" id="{9166C1E4-AF1B-40C7-95C1-CA7FBDD87375}"/>
                </a:ext>
              </a:extLst>
            </p:cNvPr>
            <p:cNvSpPr txBox="1"/>
            <p:nvPr/>
          </p:nvSpPr>
          <p:spPr>
            <a:xfrm>
              <a:off x="2697668" y="2570817"/>
              <a:ext cx="341760" cy="276999"/>
            </a:xfrm>
            <a:prstGeom prst="rect">
              <a:avLst/>
            </a:prstGeom>
            <a:noFill/>
            <a:ln>
              <a:noFill/>
              <a:prstDash val="dashDot"/>
            </a:ln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22</a:t>
              </a:r>
            </a:p>
          </p:txBody>
        </p:sp>
        <p:sp>
          <p:nvSpPr>
            <p:cNvPr id="258" name="Textfeld 257">
              <a:extLst>
                <a:ext uri="{FF2B5EF4-FFF2-40B4-BE49-F238E27FC236}">
                  <a16:creationId xmlns:a16="http://schemas.microsoft.com/office/drawing/2014/main" id="{3FED9470-212D-4CF7-9D25-9E060BF522FF}"/>
                </a:ext>
              </a:extLst>
            </p:cNvPr>
            <p:cNvSpPr txBox="1"/>
            <p:nvPr/>
          </p:nvSpPr>
          <p:spPr>
            <a:xfrm>
              <a:off x="3424333" y="3473613"/>
              <a:ext cx="341760" cy="276999"/>
            </a:xfrm>
            <a:prstGeom prst="rect">
              <a:avLst/>
            </a:prstGeom>
            <a:noFill/>
            <a:ln>
              <a:noFill/>
              <a:prstDash val="dashDot"/>
            </a:ln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22</a:t>
              </a:r>
            </a:p>
          </p:txBody>
        </p:sp>
      </p:grpSp>
      <p:grpSp>
        <p:nvGrpSpPr>
          <p:cNvPr id="264" name="Gruppieren 263">
            <a:extLst>
              <a:ext uri="{FF2B5EF4-FFF2-40B4-BE49-F238E27FC236}">
                <a16:creationId xmlns:a16="http://schemas.microsoft.com/office/drawing/2014/main" id="{4C2B2EFA-4177-4D92-8567-F611735188C2}"/>
              </a:ext>
            </a:extLst>
          </p:cNvPr>
          <p:cNvGrpSpPr/>
          <p:nvPr/>
        </p:nvGrpSpPr>
        <p:grpSpPr>
          <a:xfrm>
            <a:off x="9749431" y="5396220"/>
            <a:ext cx="440566" cy="527331"/>
            <a:chOff x="4571456" y="2095023"/>
            <a:chExt cx="440566" cy="527331"/>
          </a:xfrm>
        </p:grpSpPr>
        <p:grpSp>
          <p:nvGrpSpPr>
            <p:cNvPr id="265" name="Gruppieren 264">
              <a:extLst>
                <a:ext uri="{FF2B5EF4-FFF2-40B4-BE49-F238E27FC236}">
                  <a16:creationId xmlns:a16="http://schemas.microsoft.com/office/drawing/2014/main" id="{C717E456-8102-475A-97FF-BD30CF6F45CE}"/>
                </a:ext>
              </a:extLst>
            </p:cNvPr>
            <p:cNvGrpSpPr/>
            <p:nvPr/>
          </p:nvGrpSpPr>
          <p:grpSpPr>
            <a:xfrm>
              <a:off x="4571456" y="2095023"/>
              <a:ext cx="435229" cy="527331"/>
              <a:chOff x="2131241" y="3552677"/>
              <a:chExt cx="435229" cy="527331"/>
            </a:xfrm>
          </p:grpSpPr>
          <p:cxnSp>
            <p:nvCxnSpPr>
              <p:cNvPr id="267" name="Gerader Verbinder 266">
                <a:extLst>
                  <a:ext uri="{FF2B5EF4-FFF2-40B4-BE49-F238E27FC236}">
                    <a16:creationId xmlns:a16="http://schemas.microsoft.com/office/drawing/2014/main" id="{B48B2ADD-22D1-42BB-BC98-797C651496ED}"/>
                  </a:ext>
                </a:extLst>
              </p:cNvPr>
              <p:cNvCxnSpPr>
                <a:cxnSpLocks/>
                <a:stCxn id="269" idx="7"/>
              </p:cNvCxnSpPr>
              <p:nvPr/>
            </p:nvCxnSpPr>
            <p:spPr>
              <a:xfrm>
                <a:off x="2317410" y="3588305"/>
                <a:ext cx="249060" cy="319679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r Verbinder 267">
                <a:extLst>
                  <a:ext uri="{FF2B5EF4-FFF2-40B4-BE49-F238E27FC236}">
                    <a16:creationId xmlns:a16="http://schemas.microsoft.com/office/drawing/2014/main" id="{CC344838-E485-4F7B-B123-4FF2C4338EAF}"/>
                  </a:ext>
                </a:extLst>
              </p:cNvPr>
              <p:cNvCxnSpPr>
                <a:cxnSpLocks/>
                <a:stCxn id="269" idx="3"/>
              </p:cNvCxnSpPr>
              <p:nvPr/>
            </p:nvCxnSpPr>
            <p:spPr>
              <a:xfrm>
                <a:off x="2163182" y="3760329"/>
                <a:ext cx="249060" cy="319679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9" name="Ellipse 268">
                <a:extLst>
                  <a:ext uri="{FF2B5EF4-FFF2-40B4-BE49-F238E27FC236}">
                    <a16:creationId xmlns:a16="http://schemas.microsoft.com/office/drawing/2014/main" id="{4ED2F0BC-E8AA-4DB0-A914-910D2F754382}"/>
                  </a:ext>
                </a:extLst>
              </p:cNvPr>
              <p:cNvSpPr/>
              <p:nvPr/>
            </p:nvSpPr>
            <p:spPr>
              <a:xfrm>
                <a:off x="2131241" y="3552677"/>
                <a:ext cx="218110" cy="24328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266" name="Textfeld 265">
              <a:extLst>
                <a:ext uri="{FF2B5EF4-FFF2-40B4-BE49-F238E27FC236}">
                  <a16:creationId xmlns:a16="http://schemas.microsoft.com/office/drawing/2014/main" id="{F971F5DA-CFBB-401A-9564-7294861EEBB2}"/>
                </a:ext>
              </a:extLst>
            </p:cNvPr>
            <p:cNvSpPr txBox="1"/>
            <p:nvPr/>
          </p:nvSpPr>
          <p:spPr>
            <a:xfrm rot="3053154">
              <a:off x="4723482" y="2274496"/>
              <a:ext cx="300082" cy="276999"/>
            </a:xfrm>
            <a:prstGeom prst="rect">
              <a:avLst/>
            </a:prstGeom>
            <a:noFill/>
            <a:ln>
              <a:noFill/>
              <a:prstDash val="dashDot"/>
            </a:ln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…</a:t>
              </a:r>
            </a:p>
          </p:txBody>
        </p:sp>
      </p:grpSp>
      <p:grpSp>
        <p:nvGrpSpPr>
          <p:cNvPr id="270" name="Gruppieren 269">
            <a:extLst>
              <a:ext uri="{FF2B5EF4-FFF2-40B4-BE49-F238E27FC236}">
                <a16:creationId xmlns:a16="http://schemas.microsoft.com/office/drawing/2014/main" id="{6B243917-A8ED-4855-98E1-373BE0EFABA0}"/>
              </a:ext>
            </a:extLst>
          </p:cNvPr>
          <p:cNvGrpSpPr/>
          <p:nvPr/>
        </p:nvGrpSpPr>
        <p:grpSpPr>
          <a:xfrm rot="10800000">
            <a:off x="7636141" y="5965544"/>
            <a:ext cx="440566" cy="527331"/>
            <a:chOff x="4571456" y="2095023"/>
            <a:chExt cx="440566" cy="527331"/>
          </a:xfrm>
        </p:grpSpPr>
        <p:grpSp>
          <p:nvGrpSpPr>
            <p:cNvPr id="271" name="Gruppieren 270">
              <a:extLst>
                <a:ext uri="{FF2B5EF4-FFF2-40B4-BE49-F238E27FC236}">
                  <a16:creationId xmlns:a16="http://schemas.microsoft.com/office/drawing/2014/main" id="{96B7B0BF-D9F8-47ED-903F-8CAA30E3546D}"/>
                </a:ext>
              </a:extLst>
            </p:cNvPr>
            <p:cNvGrpSpPr/>
            <p:nvPr/>
          </p:nvGrpSpPr>
          <p:grpSpPr>
            <a:xfrm>
              <a:off x="4571456" y="2095023"/>
              <a:ext cx="435229" cy="527331"/>
              <a:chOff x="2131241" y="3552677"/>
              <a:chExt cx="435229" cy="527331"/>
            </a:xfrm>
          </p:grpSpPr>
          <p:cxnSp>
            <p:nvCxnSpPr>
              <p:cNvPr id="273" name="Gerader Verbinder 272">
                <a:extLst>
                  <a:ext uri="{FF2B5EF4-FFF2-40B4-BE49-F238E27FC236}">
                    <a16:creationId xmlns:a16="http://schemas.microsoft.com/office/drawing/2014/main" id="{34438B8F-7D27-4BCE-A4D0-21367AD523D6}"/>
                  </a:ext>
                </a:extLst>
              </p:cNvPr>
              <p:cNvCxnSpPr>
                <a:cxnSpLocks/>
                <a:stCxn id="275" idx="7"/>
              </p:cNvCxnSpPr>
              <p:nvPr/>
            </p:nvCxnSpPr>
            <p:spPr>
              <a:xfrm>
                <a:off x="2317410" y="3588305"/>
                <a:ext cx="249060" cy="319679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4" name="Gerader Verbinder 273">
                <a:extLst>
                  <a:ext uri="{FF2B5EF4-FFF2-40B4-BE49-F238E27FC236}">
                    <a16:creationId xmlns:a16="http://schemas.microsoft.com/office/drawing/2014/main" id="{4B48A2E6-C6A6-4166-A1F1-A6A36C6FB034}"/>
                  </a:ext>
                </a:extLst>
              </p:cNvPr>
              <p:cNvCxnSpPr>
                <a:cxnSpLocks/>
                <a:stCxn id="275" idx="3"/>
              </p:cNvCxnSpPr>
              <p:nvPr/>
            </p:nvCxnSpPr>
            <p:spPr>
              <a:xfrm>
                <a:off x="2163182" y="3760329"/>
                <a:ext cx="249060" cy="319679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5" name="Ellipse 274">
                <a:extLst>
                  <a:ext uri="{FF2B5EF4-FFF2-40B4-BE49-F238E27FC236}">
                    <a16:creationId xmlns:a16="http://schemas.microsoft.com/office/drawing/2014/main" id="{86649864-E06D-4FD9-BD73-F9DA2EF7B394}"/>
                  </a:ext>
                </a:extLst>
              </p:cNvPr>
              <p:cNvSpPr/>
              <p:nvPr/>
            </p:nvSpPr>
            <p:spPr>
              <a:xfrm>
                <a:off x="2131241" y="3552677"/>
                <a:ext cx="218110" cy="24328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272" name="Textfeld 271">
              <a:extLst>
                <a:ext uri="{FF2B5EF4-FFF2-40B4-BE49-F238E27FC236}">
                  <a16:creationId xmlns:a16="http://schemas.microsoft.com/office/drawing/2014/main" id="{5580C3E3-E09B-478C-813D-CC394891DE37}"/>
                </a:ext>
              </a:extLst>
            </p:cNvPr>
            <p:cNvSpPr txBox="1"/>
            <p:nvPr/>
          </p:nvSpPr>
          <p:spPr>
            <a:xfrm rot="3053154">
              <a:off x="4723482" y="2274496"/>
              <a:ext cx="300082" cy="276999"/>
            </a:xfrm>
            <a:prstGeom prst="rect">
              <a:avLst/>
            </a:prstGeom>
            <a:noFill/>
            <a:ln>
              <a:noFill/>
              <a:prstDash val="dashDot"/>
            </a:ln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…</a:t>
              </a:r>
            </a:p>
          </p:txBody>
        </p:sp>
      </p:grpSp>
      <p:cxnSp>
        <p:nvCxnSpPr>
          <p:cNvPr id="276" name="Gerade Verbindung mit Pfeil 275">
            <a:extLst>
              <a:ext uri="{FF2B5EF4-FFF2-40B4-BE49-F238E27FC236}">
                <a16:creationId xmlns:a16="http://schemas.microsoft.com/office/drawing/2014/main" id="{6CDB7A12-32F1-4E91-B1E9-56D46FC80850}"/>
              </a:ext>
            </a:extLst>
          </p:cNvPr>
          <p:cNvCxnSpPr>
            <a:cxnSpLocks/>
          </p:cNvCxnSpPr>
          <p:nvPr/>
        </p:nvCxnSpPr>
        <p:spPr>
          <a:xfrm>
            <a:off x="10162160" y="5646964"/>
            <a:ext cx="154510" cy="18311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7" name="Gruppieren 276">
            <a:extLst>
              <a:ext uri="{FF2B5EF4-FFF2-40B4-BE49-F238E27FC236}">
                <a16:creationId xmlns:a16="http://schemas.microsoft.com/office/drawing/2014/main" id="{9013A9ED-AC64-49D3-AA1B-7A7DA23FECC3}"/>
              </a:ext>
            </a:extLst>
          </p:cNvPr>
          <p:cNvGrpSpPr/>
          <p:nvPr/>
        </p:nvGrpSpPr>
        <p:grpSpPr>
          <a:xfrm>
            <a:off x="9871655" y="5228270"/>
            <a:ext cx="672719" cy="461665"/>
            <a:chOff x="4811918" y="3080857"/>
            <a:chExt cx="672719" cy="461665"/>
          </a:xfrm>
        </p:grpSpPr>
        <p:sp>
          <p:nvSpPr>
            <p:cNvPr id="278" name="Rechteck 277">
              <a:extLst>
                <a:ext uri="{FF2B5EF4-FFF2-40B4-BE49-F238E27FC236}">
                  <a16:creationId xmlns:a16="http://schemas.microsoft.com/office/drawing/2014/main" id="{243000E5-88C9-4993-8E68-B262AEE49A13}"/>
                </a:ext>
              </a:extLst>
            </p:cNvPr>
            <p:cNvSpPr/>
            <p:nvPr/>
          </p:nvSpPr>
          <p:spPr>
            <a:xfrm>
              <a:off x="4811918" y="3080857"/>
              <a:ext cx="672719" cy="461665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tint val="66000"/>
                    <a:satMod val="160000"/>
                  </a:schemeClr>
                </a:gs>
                <a:gs pos="50000">
                  <a:schemeClr val="tx1">
                    <a:tint val="44500"/>
                    <a:satMod val="160000"/>
                  </a:schemeClr>
                </a:gs>
                <a:gs pos="100000">
                  <a:schemeClr val="tx1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9" name="Textfeld 278">
              <a:extLst>
                <a:ext uri="{FF2B5EF4-FFF2-40B4-BE49-F238E27FC236}">
                  <a16:creationId xmlns:a16="http://schemas.microsoft.com/office/drawing/2014/main" id="{1D214E84-49CD-4144-9104-962A473049F8}"/>
                </a:ext>
              </a:extLst>
            </p:cNvPr>
            <p:cNvSpPr txBox="1"/>
            <p:nvPr/>
          </p:nvSpPr>
          <p:spPr>
            <a:xfrm>
              <a:off x="4864465" y="3165331"/>
              <a:ext cx="578195" cy="276999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Dot"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 err="1"/>
                <a:t>rm</a:t>
              </a:r>
              <a:r>
                <a:rPr lang="de-DE" sz="1200" dirty="0"/>
                <a:t> </a:t>
              </a:r>
              <a:r>
                <a:rPr lang="de-DE" sz="1200" dirty="0" err="1"/>
                <a:t>xy</a:t>
              </a:r>
              <a:endParaRPr lang="de-DE" sz="1200" dirty="0"/>
            </a:p>
          </p:txBody>
        </p:sp>
      </p:grpSp>
      <p:sp>
        <p:nvSpPr>
          <p:cNvPr id="281" name="Textfeld 280">
            <a:extLst>
              <a:ext uri="{FF2B5EF4-FFF2-40B4-BE49-F238E27FC236}">
                <a16:creationId xmlns:a16="http://schemas.microsoft.com/office/drawing/2014/main" id="{7E3EA37E-88D4-4A54-A7A3-130EB16F4DB9}"/>
              </a:ext>
            </a:extLst>
          </p:cNvPr>
          <p:cNvSpPr txBox="1"/>
          <p:nvPr/>
        </p:nvSpPr>
        <p:spPr>
          <a:xfrm>
            <a:off x="6635874" y="202224"/>
            <a:ext cx="4411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)</a:t>
            </a:r>
          </a:p>
        </p:txBody>
      </p:sp>
      <p:sp>
        <p:nvSpPr>
          <p:cNvPr id="282" name="Textfeld 281">
            <a:extLst>
              <a:ext uri="{FF2B5EF4-FFF2-40B4-BE49-F238E27FC236}">
                <a16:creationId xmlns:a16="http://schemas.microsoft.com/office/drawing/2014/main" id="{FC89D62E-DAA2-46F0-9727-CAF4FAA67E59}"/>
              </a:ext>
            </a:extLst>
          </p:cNvPr>
          <p:cNvSpPr txBox="1"/>
          <p:nvPr/>
        </p:nvSpPr>
        <p:spPr>
          <a:xfrm>
            <a:off x="8993924" y="2544631"/>
            <a:ext cx="4411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)</a:t>
            </a:r>
          </a:p>
        </p:txBody>
      </p:sp>
      <p:sp>
        <p:nvSpPr>
          <p:cNvPr id="283" name="Textfeld 282">
            <a:extLst>
              <a:ext uri="{FF2B5EF4-FFF2-40B4-BE49-F238E27FC236}">
                <a16:creationId xmlns:a16="http://schemas.microsoft.com/office/drawing/2014/main" id="{3943DEE4-475C-4831-A3E9-27C136E3AF3B}"/>
              </a:ext>
            </a:extLst>
          </p:cNvPr>
          <p:cNvSpPr txBox="1"/>
          <p:nvPr/>
        </p:nvSpPr>
        <p:spPr>
          <a:xfrm>
            <a:off x="7867681" y="5420240"/>
            <a:ext cx="4235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)</a:t>
            </a:r>
          </a:p>
        </p:txBody>
      </p: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521A2-1D9F-44CD-A2AA-B564ACE1668E}"/>
              </a:ext>
            </a:extLst>
          </p:cNvPr>
          <p:cNvCxnSpPr>
            <a:cxnSpLocks/>
          </p:cNvCxnSpPr>
          <p:nvPr/>
        </p:nvCxnSpPr>
        <p:spPr>
          <a:xfrm>
            <a:off x="7732146" y="1237991"/>
            <a:ext cx="196188" cy="2662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5" name="Gruppieren 284">
            <a:extLst>
              <a:ext uri="{FF2B5EF4-FFF2-40B4-BE49-F238E27FC236}">
                <a16:creationId xmlns:a16="http://schemas.microsoft.com/office/drawing/2014/main" id="{5473AD4B-98A9-4954-A2D2-A0F2E7F31494}"/>
              </a:ext>
            </a:extLst>
          </p:cNvPr>
          <p:cNvGrpSpPr/>
          <p:nvPr/>
        </p:nvGrpSpPr>
        <p:grpSpPr>
          <a:xfrm>
            <a:off x="7059427" y="826781"/>
            <a:ext cx="684760" cy="461665"/>
            <a:chOff x="4811918" y="3080857"/>
            <a:chExt cx="684760" cy="461665"/>
          </a:xfrm>
        </p:grpSpPr>
        <p:sp>
          <p:nvSpPr>
            <p:cNvPr id="286" name="Rechteck 285">
              <a:extLst>
                <a:ext uri="{FF2B5EF4-FFF2-40B4-BE49-F238E27FC236}">
                  <a16:creationId xmlns:a16="http://schemas.microsoft.com/office/drawing/2014/main" id="{17B9B0D7-0F90-4C5E-8820-4C12C8272099}"/>
                </a:ext>
              </a:extLst>
            </p:cNvPr>
            <p:cNvSpPr/>
            <p:nvPr/>
          </p:nvSpPr>
          <p:spPr>
            <a:xfrm>
              <a:off x="4811918" y="3080857"/>
              <a:ext cx="672719" cy="461665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7" name="Textfeld 286">
              <a:extLst>
                <a:ext uri="{FF2B5EF4-FFF2-40B4-BE49-F238E27FC236}">
                  <a16:creationId xmlns:a16="http://schemas.microsoft.com/office/drawing/2014/main" id="{4747D99B-24AA-42E2-81A6-DCEEEEA48C5A}"/>
                </a:ext>
              </a:extLst>
            </p:cNvPr>
            <p:cNvSpPr txBox="1"/>
            <p:nvPr/>
          </p:nvSpPr>
          <p:spPr>
            <a:xfrm>
              <a:off x="4864465" y="3165331"/>
              <a:ext cx="632213" cy="276999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Dot"/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 err="1"/>
                <a:t>rm</a:t>
              </a:r>
              <a:r>
                <a:rPr lang="de-DE" sz="1200" dirty="0"/>
                <a:t> </a:t>
              </a:r>
              <a:r>
                <a:rPr lang="de-DE" sz="1200" dirty="0" err="1"/>
                <a:t>xy</a:t>
              </a:r>
              <a:endParaRPr lang="de-DE" sz="1200" dirty="0"/>
            </a:p>
          </p:txBody>
        </p:sp>
      </p:grpSp>
      <p:pic>
        <p:nvPicPr>
          <p:cNvPr id="288" name="Grafik 287">
            <a:extLst>
              <a:ext uri="{FF2B5EF4-FFF2-40B4-BE49-F238E27FC236}">
                <a16:creationId xmlns:a16="http://schemas.microsoft.com/office/drawing/2014/main" id="{9AF6C7F1-4B12-49F6-972A-1B5B4044A15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536222" y="1062537"/>
            <a:ext cx="205423" cy="205423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F68FF915-7E33-4B88-A33B-7855E8E6214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830578" y="4371663"/>
            <a:ext cx="205423" cy="205423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C8C78E28-958E-4B1A-9761-75280527DE0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352534" y="5464574"/>
            <a:ext cx="205423" cy="205423"/>
          </a:xfrm>
          <a:prstGeom prst="rect">
            <a:avLst/>
          </a:prstGeom>
        </p:spPr>
      </p:pic>
      <p:sp>
        <p:nvSpPr>
          <p:cNvPr id="6" name="TextBox 8">
            <a:extLst>
              <a:ext uri="{FF2B5EF4-FFF2-40B4-BE49-F238E27FC236}">
                <a16:creationId xmlns:a16="http://schemas.microsoft.com/office/drawing/2014/main" id="{F05F482A-D94A-46FA-A44D-1CB77BDCC0A0}"/>
              </a:ext>
            </a:extLst>
          </p:cNvPr>
          <p:cNvSpPr txBox="1"/>
          <p:nvPr/>
        </p:nvSpPr>
        <p:spPr>
          <a:xfrm>
            <a:off x="1134759" y="2049015"/>
            <a:ext cx="5515127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Trebuchet MS" panose="020B0703020202090204" pitchFamily="34" charset="0"/>
              </a:rPr>
              <a:t>Interactive SSH-sess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Trebuchet MS" panose="020B0703020202090204" pitchFamily="34" charset="0"/>
              </a:rPr>
              <a:t>relayed using SSH-tunne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Trebuchet MS" panose="020B0703020202090204" pitchFamily="34" charset="0"/>
              </a:rPr>
              <a:t>SSH-scrip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Trebuchet MS" panose="020B0703020202090204" pitchFamily="34" charset="0"/>
              </a:rPr>
              <a:t>commands drawn randomly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Trebuchet MS" panose="020B0703020202090204" pitchFamily="34" charset="0"/>
              </a:rPr>
              <a:t>randomized input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Trebuchet MS" panose="020B0703020202090204" pitchFamily="34" charset="0"/>
              </a:rPr>
              <a:t>sleep intervals to simulate reaction tim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Trebuchet MS" panose="020B0703020202090204" pitchFamily="34" charset="0"/>
            </a:endParaRPr>
          </a:p>
          <a:p>
            <a:endParaRPr lang="en-US" sz="2000" dirty="0">
              <a:latin typeface="Trebuchet MS" panose="020B070302020209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Trebuchet MS" panose="020B0703020202090204" pitchFamily="34" charset="0"/>
              </a:rPr>
              <a:t>Containers for reproducibility</a:t>
            </a:r>
          </a:p>
          <a:p>
            <a:endParaRPr lang="en-US" sz="2000" dirty="0">
              <a:latin typeface="Trebuchet MS" panose="020B0703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45654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40.7354/102.4608/420.0911/336.438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40.7354/102.4608/420.0911/336.438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40.7354/102.4608/420.0911/336.438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40.7354/102.4608/420.0911/336.4383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40.7354/102.4608/420.0911/336.438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40.7354/102.4608/420.0911/336.438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40.7354/102.4608/420.0911/336.438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40.7354/102.4608/420.0911/336.438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40.7354/102.4608/420.0911/336.438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40.7354/102.4608/420.0911/336.438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40.7354/102.4608/420.0911/336.438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40.7354/102.4608/420.0911/336.438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78</Words>
  <Application>Microsoft Office PowerPoint</Application>
  <PresentationFormat>Breitbild</PresentationFormat>
  <Paragraphs>693</Paragraphs>
  <Slides>31</Slides>
  <Notes>3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1</vt:i4>
      </vt:variant>
    </vt:vector>
  </HeadingPairs>
  <TitlesOfParts>
    <vt:vector size="38" baseType="lpstr">
      <vt:lpstr>Arial</vt:lpstr>
      <vt:lpstr>Calibri</vt:lpstr>
      <vt:lpstr>Cambria Math</vt:lpstr>
      <vt:lpstr>Times New Roman</vt:lpstr>
      <vt:lpstr>Trebuchet MS</vt:lpstr>
      <vt:lpstr>Wingdings</vt:lpstr>
      <vt:lpstr>office theme</vt:lpstr>
      <vt:lpstr>Evading stepping-stone detection with enough chaff</vt:lpstr>
      <vt:lpstr>Contribution</vt:lpstr>
      <vt:lpstr>Stepping-stone</vt:lpstr>
      <vt:lpstr>Stepping-stone detection</vt:lpstr>
      <vt:lpstr>Stepping-stone detection</vt:lpstr>
      <vt:lpstr>Stepping-stone detection</vt:lpstr>
      <vt:lpstr>Evaluation problems</vt:lpstr>
      <vt:lpstr>Data generation set-up</vt:lpstr>
      <vt:lpstr>Data generation set-up</vt:lpstr>
      <vt:lpstr>Data generation set-up</vt:lpstr>
      <vt:lpstr>Evaluation data</vt:lpstr>
      <vt:lpstr>Selected methods</vt:lpstr>
      <vt:lpstr>PowerPoint-Präsentation</vt:lpstr>
      <vt:lpstr>PowerPoint-Präsentation</vt:lpstr>
      <vt:lpstr>PowerPoint-Präsentation</vt:lpstr>
      <vt:lpstr>Limitations</vt:lpstr>
      <vt:lpstr>Conclusion</vt:lpstr>
      <vt:lpstr>Additional results</vt:lpstr>
      <vt:lpstr>Models</vt:lpstr>
      <vt:lpstr>Agenda</vt:lpstr>
      <vt:lpstr>Agenda</vt:lpstr>
      <vt:lpstr>Agenda</vt:lpstr>
      <vt:lpstr>Agenda</vt:lpstr>
      <vt:lpstr>Agenda</vt:lpstr>
      <vt:lpstr>Agenda</vt:lpstr>
      <vt:lpstr>Agenda</vt:lpstr>
      <vt:lpstr>Limitations</vt:lpstr>
      <vt:lpstr>Conclusion</vt:lpstr>
      <vt:lpstr>Containerization</vt:lpstr>
      <vt:lpstr>Stepping-stone detection</vt:lpstr>
      <vt:lpstr>Evaluation dat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ffic generation using Containerization for Machine Learning</dc:title>
  <dc:creator>CLAUSEN Henry</dc:creator>
  <cp:lastModifiedBy>Henry Clausen</cp:lastModifiedBy>
  <cp:revision>12</cp:revision>
  <dcterms:created xsi:type="dcterms:W3CDTF">2019-12-03T15:46:58Z</dcterms:created>
  <dcterms:modified xsi:type="dcterms:W3CDTF">2020-11-20T14:13:49Z</dcterms:modified>
</cp:coreProperties>
</file>